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xml" ContentType="application/vnd.openxmlformats-officedocument.presentationml.notesSlide+xml"/>
  <Override PartName="/ppt/tags/tag1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4" r:id="rId6"/>
  </p:sldMasterIdLst>
  <p:notesMasterIdLst>
    <p:notesMasterId r:id="rId31"/>
  </p:notesMasterIdLst>
  <p:handoutMasterIdLst>
    <p:handoutMasterId r:id="rId32"/>
  </p:handoutMasterIdLst>
  <p:sldIdLst>
    <p:sldId id="2147470097" r:id="rId7"/>
    <p:sldId id="5096" r:id="rId8"/>
    <p:sldId id="367" r:id="rId9"/>
    <p:sldId id="10781" r:id="rId10"/>
    <p:sldId id="2147470130" r:id="rId11"/>
    <p:sldId id="2147470131" r:id="rId12"/>
    <p:sldId id="2147470106" r:id="rId13"/>
    <p:sldId id="2147470137" r:id="rId14"/>
    <p:sldId id="2147470105" r:id="rId15"/>
    <p:sldId id="2147470133" r:id="rId16"/>
    <p:sldId id="2147470141" r:id="rId17"/>
    <p:sldId id="2147470142" r:id="rId18"/>
    <p:sldId id="3358" r:id="rId19"/>
    <p:sldId id="2147470151" r:id="rId20"/>
    <p:sldId id="2147470146" r:id="rId21"/>
    <p:sldId id="2147470145" r:id="rId22"/>
    <p:sldId id="2147470147" r:id="rId23"/>
    <p:sldId id="2147470148" r:id="rId24"/>
    <p:sldId id="2147470149" r:id="rId25"/>
    <p:sldId id="2147470098" r:id="rId26"/>
    <p:sldId id="2147470152" r:id="rId27"/>
    <p:sldId id="2147470153" r:id="rId28"/>
    <p:sldId id="2147470144" r:id="rId29"/>
    <p:sldId id="2147470143" r:id="rId30"/>
  </p:sldIdLst>
  <p:sldSz cx="12192000" cy="6858000"/>
  <p:notesSz cx="6858000" cy="9144000"/>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1pPr>
    <a:lvl2pPr marL="0" marR="0" indent="11429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2pPr>
    <a:lvl3pPr marL="0" marR="0" indent="228594"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3pPr>
    <a:lvl4pPr marL="0" marR="0" indent="342891"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4pPr>
    <a:lvl5pPr marL="0" marR="0" indent="457189"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5pPr>
    <a:lvl6pPr marL="0" marR="0" indent="571486"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6pPr>
    <a:lvl7pPr marL="0" marR="0" indent="685783"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7pPr>
    <a:lvl8pPr marL="0" marR="0" indent="80008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8pPr>
    <a:lvl9pPr marL="0" marR="0" indent="91437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cover" id="{12BAD04B-A39E-1045-8914-EDA5E27F92DD}">
          <p14:sldIdLst>
            <p14:sldId id="2147470097"/>
            <p14:sldId id="5096"/>
            <p14:sldId id="367"/>
            <p14:sldId id="10781"/>
            <p14:sldId id="2147470130"/>
            <p14:sldId id="2147470131"/>
            <p14:sldId id="2147470106"/>
            <p14:sldId id="2147470137"/>
            <p14:sldId id="2147470105"/>
            <p14:sldId id="2147470133"/>
            <p14:sldId id="2147470141"/>
            <p14:sldId id="2147470142"/>
            <p14:sldId id="3358"/>
            <p14:sldId id="2147470151"/>
            <p14:sldId id="2147470146"/>
            <p14:sldId id="2147470145"/>
            <p14:sldId id="2147470147"/>
            <p14:sldId id="2147470148"/>
            <p14:sldId id="2147470149"/>
            <p14:sldId id="2147470098"/>
            <p14:sldId id="2147470152"/>
            <p14:sldId id="2147470153"/>
            <p14:sldId id="2147470144"/>
            <p14:sldId id="2147470143"/>
          </p14:sldIdLst>
        </p14:section>
      </p14:sectionLst>
    </p:ext>
    <p:ext uri="{EFAFB233-063F-42B5-8137-9DF3F51BA10A}">
      <p15:sldGuideLst xmlns:p15="http://schemas.microsoft.com/office/powerpoint/2012/main">
        <p15:guide id="1" orient="horz" pos="205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666666"/>
    <a:srgbClr val="FB6308"/>
    <a:srgbClr val="FEFFFE"/>
    <a:srgbClr val="7A0D7A"/>
    <a:srgbClr val="14570B"/>
    <a:srgbClr val="33669A"/>
    <a:srgbClr val="2A6EBB"/>
    <a:srgbClr val="213674"/>
    <a:srgbClr val="808080"/>
    <a:srgbClr val="540D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E189C9-5450-494E-BD80-4D42325D9B73}" v="149" dt="2023-03-10T15:34:04.06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374" y="77"/>
      </p:cViewPr>
      <p:guideLst>
        <p:guide orient="horz" pos="205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tana Srey" userId="13bee0a8-d205-440d-95f7-48959fdcf002" providerId="ADAL" clId="{B5E189C9-5450-494E-BD80-4D42325D9B73}"/>
    <pc:docChg chg="undo custSel addSld delSld modSld sldOrd modSection">
      <pc:chgData name="Votana Srey" userId="13bee0a8-d205-440d-95f7-48959fdcf002" providerId="ADAL" clId="{B5E189C9-5450-494E-BD80-4D42325D9B73}" dt="2023-03-10T15:34:26.853" v="1133" actId="14100"/>
      <pc:docMkLst>
        <pc:docMk/>
      </pc:docMkLst>
      <pc:sldChg chg="del">
        <pc:chgData name="Votana Srey" userId="13bee0a8-d205-440d-95f7-48959fdcf002" providerId="ADAL" clId="{B5E189C9-5450-494E-BD80-4D42325D9B73}" dt="2023-03-07T15:15:16.857" v="8" actId="47"/>
        <pc:sldMkLst>
          <pc:docMk/>
          <pc:sldMk cId="2115834336" sldId="365"/>
        </pc:sldMkLst>
      </pc:sldChg>
      <pc:sldChg chg="addSp delSp modSp mod">
        <pc:chgData name="Votana Srey" userId="13bee0a8-d205-440d-95f7-48959fdcf002" providerId="ADAL" clId="{B5E189C9-5450-494E-BD80-4D42325D9B73}" dt="2023-03-07T15:54:04.422" v="311" actId="20577"/>
        <pc:sldMkLst>
          <pc:docMk/>
          <pc:sldMk cId="1888050346" sldId="5096"/>
        </pc:sldMkLst>
        <pc:spChg chg="del">
          <ac:chgData name="Votana Srey" userId="13bee0a8-d205-440d-95f7-48959fdcf002" providerId="ADAL" clId="{B5E189C9-5450-494E-BD80-4D42325D9B73}" dt="2023-03-07T15:18:51.468" v="46" actId="478"/>
          <ac:spMkLst>
            <pc:docMk/>
            <pc:sldMk cId="1888050346" sldId="5096"/>
            <ac:spMk id="2" creationId="{E97B9365-4FB2-4998-B196-87BE8AC611DC}"/>
          </ac:spMkLst>
        </pc:spChg>
        <pc:spChg chg="add del mod">
          <ac:chgData name="Votana Srey" userId="13bee0a8-d205-440d-95f7-48959fdcf002" providerId="ADAL" clId="{B5E189C9-5450-494E-BD80-4D42325D9B73}" dt="2023-03-07T15:20:22.450" v="56" actId="478"/>
          <ac:spMkLst>
            <pc:docMk/>
            <pc:sldMk cId="1888050346" sldId="5096"/>
            <ac:spMk id="4" creationId="{EFEEFBF6-02F5-04B1-17C7-048810FF8909}"/>
          </ac:spMkLst>
        </pc:spChg>
        <pc:spChg chg="mod">
          <ac:chgData name="Votana Srey" userId="13bee0a8-d205-440d-95f7-48959fdcf002" providerId="ADAL" clId="{B5E189C9-5450-494E-BD80-4D42325D9B73}" dt="2023-03-07T15:54:04.422" v="311" actId="20577"/>
          <ac:spMkLst>
            <pc:docMk/>
            <pc:sldMk cId="1888050346" sldId="5096"/>
            <ac:spMk id="24" creationId="{174BFD3C-C91C-447B-8FB7-9247936F241C}"/>
          </ac:spMkLst>
        </pc:spChg>
        <pc:spChg chg="mod">
          <ac:chgData name="Votana Srey" userId="13bee0a8-d205-440d-95f7-48959fdcf002" providerId="ADAL" clId="{B5E189C9-5450-494E-BD80-4D42325D9B73}" dt="2023-03-07T15:34:25.444" v="230" actId="20577"/>
          <ac:spMkLst>
            <pc:docMk/>
            <pc:sldMk cId="1888050346" sldId="5096"/>
            <ac:spMk id="37" creationId="{26B3BF32-C308-41F7-8B6C-99B1ABD0DFA9}"/>
          </ac:spMkLst>
        </pc:spChg>
        <pc:spChg chg="mod">
          <ac:chgData name="Votana Srey" userId="13bee0a8-d205-440d-95f7-48959fdcf002" providerId="ADAL" clId="{B5E189C9-5450-494E-BD80-4D42325D9B73}" dt="2023-03-07T15:53:59.964" v="301" actId="20577"/>
          <ac:spMkLst>
            <pc:docMk/>
            <pc:sldMk cId="1888050346" sldId="5096"/>
            <ac:spMk id="39" creationId="{3A40EE30-DBC2-45B8-B20A-C7B752D6F0DB}"/>
          </ac:spMkLst>
        </pc:spChg>
        <pc:spChg chg="mod">
          <ac:chgData name="Votana Srey" userId="13bee0a8-d205-440d-95f7-48959fdcf002" providerId="ADAL" clId="{B5E189C9-5450-494E-BD80-4D42325D9B73}" dt="2023-03-07T15:34:33.137" v="250" actId="20577"/>
          <ac:spMkLst>
            <pc:docMk/>
            <pc:sldMk cId="1888050346" sldId="5096"/>
            <ac:spMk id="41" creationId="{0BD4BFF0-7DC6-41D4-A424-5D2861F08E33}"/>
          </ac:spMkLst>
        </pc:spChg>
        <pc:spChg chg="mod">
          <ac:chgData name="Votana Srey" userId="13bee0a8-d205-440d-95f7-48959fdcf002" providerId="ADAL" clId="{B5E189C9-5450-494E-BD80-4D42325D9B73}" dt="2023-03-07T15:34:40.670" v="267" actId="20577"/>
          <ac:spMkLst>
            <pc:docMk/>
            <pc:sldMk cId="1888050346" sldId="5096"/>
            <ac:spMk id="47" creationId="{B818B4FA-BC3B-4BEF-BE7B-79D0A83A2964}"/>
          </ac:spMkLst>
        </pc:spChg>
      </pc:sldChg>
      <pc:sldChg chg="addSp delSp modSp mod">
        <pc:chgData name="Votana Srey" userId="13bee0a8-d205-440d-95f7-48959fdcf002" providerId="ADAL" clId="{B5E189C9-5450-494E-BD80-4D42325D9B73}" dt="2023-03-07T15:18:34.634" v="45" actId="1035"/>
        <pc:sldMkLst>
          <pc:docMk/>
          <pc:sldMk cId="1149770232" sldId="2147470097"/>
        </pc:sldMkLst>
        <pc:picChg chg="mod">
          <ac:chgData name="Votana Srey" userId="13bee0a8-d205-440d-95f7-48959fdcf002" providerId="ADAL" clId="{B5E189C9-5450-494E-BD80-4D42325D9B73}" dt="2023-03-07T15:18:34.634" v="45" actId="1035"/>
          <ac:picMkLst>
            <pc:docMk/>
            <pc:sldMk cId="1149770232" sldId="2147470097"/>
            <ac:picMk id="2" creationId="{30E6E209-DC34-AF65-C18C-E01E43391DA4}"/>
          </ac:picMkLst>
        </pc:picChg>
        <pc:picChg chg="add mod modCrop">
          <ac:chgData name="Votana Srey" userId="13bee0a8-d205-440d-95f7-48959fdcf002" providerId="ADAL" clId="{B5E189C9-5450-494E-BD80-4D42325D9B73}" dt="2023-03-07T15:17:50.088" v="26" actId="1076"/>
          <ac:picMkLst>
            <pc:docMk/>
            <pc:sldMk cId="1149770232" sldId="2147470097"/>
            <ac:picMk id="8" creationId="{94ADAAF5-80CB-4F82-612A-673A6145C960}"/>
          </ac:picMkLst>
        </pc:picChg>
        <pc:picChg chg="add mod modCrop">
          <ac:chgData name="Votana Srey" userId="13bee0a8-d205-440d-95f7-48959fdcf002" providerId="ADAL" clId="{B5E189C9-5450-494E-BD80-4D42325D9B73}" dt="2023-03-07T15:18:16.523" v="32" actId="1076"/>
          <ac:picMkLst>
            <pc:docMk/>
            <pc:sldMk cId="1149770232" sldId="2147470097"/>
            <ac:picMk id="9" creationId="{F4FA0C55-D885-2BEC-C528-BA20150DA8C8}"/>
          </ac:picMkLst>
        </pc:picChg>
        <pc:picChg chg="add del mod">
          <ac:chgData name="Votana Srey" userId="13bee0a8-d205-440d-95f7-48959fdcf002" providerId="ADAL" clId="{B5E189C9-5450-494E-BD80-4D42325D9B73}" dt="2023-03-07T15:13:41.930" v="3" actId="478"/>
          <ac:picMkLst>
            <pc:docMk/>
            <pc:sldMk cId="1149770232" sldId="2147470097"/>
            <ac:picMk id="1026" creationId="{6F1E2BBF-9708-3CDC-5622-0B69C5C5A20F}"/>
          </ac:picMkLst>
        </pc:picChg>
        <pc:picChg chg="add del mod">
          <ac:chgData name="Votana Srey" userId="13bee0a8-d205-440d-95f7-48959fdcf002" providerId="ADAL" clId="{B5E189C9-5450-494E-BD80-4D42325D9B73}" dt="2023-03-07T15:16:23.225" v="10" actId="478"/>
          <ac:picMkLst>
            <pc:docMk/>
            <pc:sldMk cId="1149770232" sldId="2147470097"/>
            <ac:picMk id="1028" creationId="{941D9FCF-9F86-BE6F-3CDF-5822EC51AF68}"/>
          </ac:picMkLst>
        </pc:picChg>
      </pc:sldChg>
      <pc:sldChg chg="addSp delSp modSp mod ord modClrScheme chgLayout">
        <pc:chgData name="Votana Srey" userId="13bee0a8-d205-440d-95f7-48959fdcf002" providerId="ADAL" clId="{B5E189C9-5450-494E-BD80-4D42325D9B73}" dt="2023-03-10T14:45:07.165" v="453" actId="14100"/>
        <pc:sldMkLst>
          <pc:docMk/>
          <pc:sldMk cId="1118502330" sldId="2147470098"/>
        </pc:sldMkLst>
        <pc:spChg chg="add del mod ord">
          <ac:chgData name="Votana Srey" userId="13bee0a8-d205-440d-95f7-48959fdcf002" providerId="ADAL" clId="{B5E189C9-5450-494E-BD80-4D42325D9B73}" dt="2023-03-10T14:44:53.375" v="448" actId="700"/>
          <ac:spMkLst>
            <pc:docMk/>
            <pc:sldMk cId="1118502330" sldId="2147470098"/>
            <ac:spMk id="2" creationId="{B7198CD3-1FA3-2E00-BB81-F94ECCB59C29}"/>
          </ac:spMkLst>
        </pc:spChg>
        <pc:spChg chg="add mod ord">
          <ac:chgData name="Votana Srey" userId="13bee0a8-d205-440d-95f7-48959fdcf002" providerId="ADAL" clId="{B5E189C9-5450-494E-BD80-4D42325D9B73}" dt="2023-03-10T14:44:53.406" v="449" actId="27636"/>
          <ac:spMkLst>
            <pc:docMk/>
            <pc:sldMk cId="1118502330" sldId="2147470098"/>
            <ac:spMk id="3" creationId="{80B01349-C192-0E4A-71B3-D54696421F2B}"/>
          </ac:spMkLst>
        </pc:spChg>
        <pc:spChg chg="mod ord">
          <ac:chgData name="Votana Srey" userId="13bee0a8-d205-440d-95f7-48959fdcf002" providerId="ADAL" clId="{B5E189C9-5450-494E-BD80-4D42325D9B73}" dt="2023-03-10T14:44:53.375" v="448" actId="700"/>
          <ac:spMkLst>
            <pc:docMk/>
            <pc:sldMk cId="1118502330" sldId="2147470098"/>
            <ac:spMk id="4" creationId="{00000000-0000-0000-0000-000000000000}"/>
          </ac:spMkLst>
        </pc:spChg>
        <pc:spChg chg="add del mod ord">
          <ac:chgData name="Votana Srey" userId="13bee0a8-d205-440d-95f7-48959fdcf002" providerId="ADAL" clId="{B5E189C9-5450-494E-BD80-4D42325D9B73}" dt="2023-03-10T14:42:22.160" v="377" actId="478"/>
          <ac:spMkLst>
            <pc:docMk/>
            <pc:sldMk cId="1118502330" sldId="2147470098"/>
            <ac:spMk id="5" creationId="{D3D852EC-7CCB-6EBA-6FDA-8C5F59FD32C5}"/>
          </ac:spMkLst>
        </pc:spChg>
        <pc:picChg chg="add mod">
          <ac:chgData name="Votana Srey" userId="13bee0a8-d205-440d-95f7-48959fdcf002" providerId="ADAL" clId="{B5E189C9-5450-494E-BD80-4D42325D9B73}" dt="2023-03-10T14:45:07.165" v="453" actId="14100"/>
          <ac:picMkLst>
            <pc:docMk/>
            <pc:sldMk cId="1118502330" sldId="2147470098"/>
            <ac:picMk id="6" creationId="{25A31F19-5201-126C-BB16-DD942141B231}"/>
          </ac:picMkLst>
        </pc:picChg>
      </pc:sldChg>
      <pc:sldChg chg="del">
        <pc:chgData name="Votana Srey" userId="13bee0a8-d205-440d-95f7-48959fdcf002" providerId="ADAL" clId="{B5E189C9-5450-494E-BD80-4D42325D9B73}" dt="2023-03-07T15:15:17.834" v="9" actId="47"/>
        <pc:sldMkLst>
          <pc:docMk/>
          <pc:sldMk cId="2050275579" sldId="2147470138"/>
        </pc:sldMkLst>
      </pc:sldChg>
      <pc:sldChg chg="modSp mod">
        <pc:chgData name="Votana Srey" userId="13bee0a8-d205-440d-95f7-48959fdcf002" providerId="ADAL" clId="{B5E189C9-5450-494E-BD80-4D42325D9B73}" dt="2023-03-10T15:25:49.618" v="1051" actId="207"/>
        <pc:sldMkLst>
          <pc:docMk/>
          <pc:sldMk cId="2288843333" sldId="2147470145"/>
        </pc:sldMkLst>
        <pc:picChg chg="mod">
          <ac:chgData name="Votana Srey" userId="13bee0a8-d205-440d-95f7-48959fdcf002" providerId="ADAL" clId="{B5E189C9-5450-494E-BD80-4D42325D9B73}" dt="2023-03-10T15:25:49.618" v="1051" actId="207"/>
          <ac:picMkLst>
            <pc:docMk/>
            <pc:sldMk cId="2288843333" sldId="2147470145"/>
            <ac:picMk id="41" creationId="{89E0C420-8ED6-54FF-AC27-41549CD703D6}"/>
          </ac:picMkLst>
        </pc:picChg>
      </pc:sldChg>
      <pc:sldChg chg="ord">
        <pc:chgData name="Votana Srey" userId="13bee0a8-d205-440d-95f7-48959fdcf002" providerId="ADAL" clId="{B5E189C9-5450-494E-BD80-4D42325D9B73}" dt="2023-03-10T14:40:39.039" v="313"/>
        <pc:sldMkLst>
          <pc:docMk/>
          <pc:sldMk cId="2884242161" sldId="2147470146"/>
        </pc:sldMkLst>
      </pc:sldChg>
      <pc:sldChg chg="addSp delSp modSp add mod ord">
        <pc:chgData name="Votana Srey" userId="13bee0a8-d205-440d-95f7-48959fdcf002" providerId="ADAL" clId="{B5E189C9-5450-494E-BD80-4D42325D9B73}" dt="2023-03-10T15:34:26.853" v="1133" actId="14100"/>
        <pc:sldMkLst>
          <pc:docMk/>
          <pc:sldMk cId="1200473443" sldId="2147470152"/>
        </pc:sldMkLst>
        <pc:spChg chg="mod">
          <ac:chgData name="Votana Srey" userId="13bee0a8-d205-440d-95f7-48959fdcf002" providerId="ADAL" clId="{B5E189C9-5450-494E-BD80-4D42325D9B73}" dt="2023-03-10T14:56:01.287" v="587" actId="14100"/>
          <ac:spMkLst>
            <pc:docMk/>
            <pc:sldMk cId="1200473443" sldId="2147470152"/>
            <ac:spMk id="3" creationId="{FA226BB7-DA39-CDB7-C74A-FD4EEEAA2B6C}"/>
          </ac:spMkLst>
        </pc:spChg>
        <pc:spChg chg="add mod">
          <ac:chgData name="Votana Srey" userId="13bee0a8-d205-440d-95f7-48959fdcf002" providerId="ADAL" clId="{B5E189C9-5450-494E-BD80-4D42325D9B73}" dt="2023-03-10T15:08:37.374" v="667" actId="1038"/>
          <ac:spMkLst>
            <pc:docMk/>
            <pc:sldMk cId="1200473443" sldId="2147470152"/>
            <ac:spMk id="8" creationId="{DDD6A26C-EA5D-7926-16CC-69C047D5708F}"/>
          </ac:spMkLst>
        </pc:spChg>
        <pc:spChg chg="mod">
          <ac:chgData name="Votana Srey" userId="13bee0a8-d205-440d-95f7-48959fdcf002" providerId="ADAL" clId="{B5E189C9-5450-494E-BD80-4D42325D9B73}" dt="2023-03-10T15:10:56.892" v="701" actId="1038"/>
          <ac:spMkLst>
            <pc:docMk/>
            <pc:sldMk cId="1200473443" sldId="2147470152"/>
            <ac:spMk id="14" creationId="{388CAE5D-30C6-B3FC-DCA6-F3BBF9746C2C}"/>
          </ac:spMkLst>
        </pc:spChg>
        <pc:spChg chg="del">
          <ac:chgData name="Votana Srey" userId="13bee0a8-d205-440d-95f7-48959fdcf002" providerId="ADAL" clId="{B5E189C9-5450-494E-BD80-4D42325D9B73}" dt="2023-03-10T15:05:41.190" v="597" actId="478"/>
          <ac:spMkLst>
            <pc:docMk/>
            <pc:sldMk cId="1200473443" sldId="2147470152"/>
            <ac:spMk id="15" creationId="{41129864-9CF4-7EB1-A53B-A35EC781DEEA}"/>
          </ac:spMkLst>
        </pc:spChg>
        <pc:spChg chg="del">
          <ac:chgData name="Votana Srey" userId="13bee0a8-d205-440d-95f7-48959fdcf002" providerId="ADAL" clId="{B5E189C9-5450-494E-BD80-4D42325D9B73}" dt="2023-03-10T15:05:41.190" v="597" actId="478"/>
          <ac:spMkLst>
            <pc:docMk/>
            <pc:sldMk cId="1200473443" sldId="2147470152"/>
            <ac:spMk id="16" creationId="{52C67846-7462-E58F-88AA-344E6D07245E}"/>
          </ac:spMkLst>
        </pc:spChg>
        <pc:spChg chg="add mod">
          <ac:chgData name="Votana Srey" userId="13bee0a8-d205-440d-95f7-48959fdcf002" providerId="ADAL" clId="{B5E189C9-5450-494E-BD80-4D42325D9B73}" dt="2023-03-10T15:15:37.072" v="874" actId="1035"/>
          <ac:spMkLst>
            <pc:docMk/>
            <pc:sldMk cId="1200473443" sldId="2147470152"/>
            <ac:spMk id="18" creationId="{034F01B9-9FCB-C1F1-5AB8-A9FCB565C350}"/>
          </ac:spMkLst>
        </pc:spChg>
        <pc:spChg chg="add mod">
          <ac:chgData name="Votana Srey" userId="13bee0a8-d205-440d-95f7-48959fdcf002" providerId="ADAL" clId="{B5E189C9-5450-494E-BD80-4D42325D9B73}" dt="2023-03-10T15:10:52.954" v="695" actId="14100"/>
          <ac:spMkLst>
            <pc:docMk/>
            <pc:sldMk cId="1200473443" sldId="2147470152"/>
            <ac:spMk id="19" creationId="{DB1C6931-A04C-B00E-9AEB-C4A1D2CB9ED6}"/>
          </ac:spMkLst>
        </pc:spChg>
        <pc:spChg chg="del">
          <ac:chgData name="Votana Srey" userId="13bee0a8-d205-440d-95f7-48959fdcf002" providerId="ADAL" clId="{B5E189C9-5450-494E-BD80-4D42325D9B73}" dt="2023-03-10T15:05:41.190" v="597" actId="478"/>
          <ac:spMkLst>
            <pc:docMk/>
            <pc:sldMk cId="1200473443" sldId="2147470152"/>
            <ac:spMk id="20" creationId="{0D337DB3-1ACE-DFC8-D885-F85C7131123A}"/>
          </ac:spMkLst>
        </pc:spChg>
        <pc:spChg chg="del">
          <ac:chgData name="Votana Srey" userId="13bee0a8-d205-440d-95f7-48959fdcf002" providerId="ADAL" clId="{B5E189C9-5450-494E-BD80-4D42325D9B73}" dt="2023-03-10T15:05:41.190" v="597" actId="478"/>
          <ac:spMkLst>
            <pc:docMk/>
            <pc:sldMk cId="1200473443" sldId="2147470152"/>
            <ac:spMk id="23" creationId="{C6E405F3-4CCE-3610-DDF1-75C4780A90AA}"/>
          </ac:spMkLst>
        </pc:spChg>
        <pc:spChg chg="mod">
          <ac:chgData name="Votana Srey" userId="13bee0a8-d205-440d-95f7-48959fdcf002" providerId="ADAL" clId="{B5E189C9-5450-494E-BD80-4D42325D9B73}" dt="2023-03-10T14:48:25.654" v="530" actId="255"/>
          <ac:spMkLst>
            <pc:docMk/>
            <pc:sldMk cId="1200473443" sldId="2147470152"/>
            <ac:spMk id="30" creationId="{29BC8092-237F-564C-458D-70A4E9A97202}"/>
          </ac:spMkLst>
        </pc:spChg>
        <pc:spChg chg="mod">
          <ac:chgData name="Votana Srey" userId="13bee0a8-d205-440d-95f7-48959fdcf002" providerId="ADAL" clId="{B5E189C9-5450-494E-BD80-4D42325D9B73}" dt="2023-03-10T14:49:09.375" v="542" actId="1076"/>
          <ac:spMkLst>
            <pc:docMk/>
            <pc:sldMk cId="1200473443" sldId="2147470152"/>
            <ac:spMk id="31" creationId="{98EC672A-C9E6-8BAE-D614-9008C1705CC3}"/>
          </ac:spMkLst>
        </pc:spChg>
        <pc:spChg chg="mod">
          <ac:chgData name="Votana Srey" userId="13bee0a8-d205-440d-95f7-48959fdcf002" providerId="ADAL" clId="{B5E189C9-5450-494E-BD80-4D42325D9B73}" dt="2023-03-10T14:49:21.897" v="546" actId="1076"/>
          <ac:spMkLst>
            <pc:docMk/>
            <pc:sldMk cId="1200473443" sldId="2147470152"/>
            <ac:spMk id="32" creationId="{24AE1EA5-90F4-ED4A-26F5-D5D4FCA436E0}"/>
          </ac:spMkLst>
        </pc:spChg>
        <pc:spChg chg="mod">
          <ac:chgData name="Votana Srey" userId="13bee0a8-d205-440d-95f7-48959fdcf002" providerId="ADAL" clId="{B5E189C9-5450-494E-BD80-4D42325D9B73}" dt="2023-03-10T15:01:38.400" v="589" actId="20577"/>
          <ac:spMkLst>
            <pc:docMk/>
            <pc:sldMk cId="1200473443" sldId="2147470152"/>
            <ac:spMk id="33" creationId="{E8649FCE-DA4B-C63C-6FF0-B2C840563AD7}"/>
          </ac:spMkLst>
        </pc:spChg>
        <pc:spChg chg="del">
          <ac:chgData name="Votana Srey" userId="13bee0a8-d205-440d-95f7-48959fdcf002" providerId="ADAL" clId="{B5E189C9-5450-494E-BD80-4D42325D9B73}" dt="2023-03-10T14:45:17.191" v="454" actId="478"/>
          <ac:spMkLst>
            <pc:docMk/>
            <pc:sldMk cId="1200473443" sldId="2147470152"/>
            <ac:spMk id="34" creationId="{EE429CAE-8BF3-F066-4F98-C8BD1B19F2B1}"/>
          </ac:spMkLst>
        </pc:spChg>
        <pc:spChg chg="del mod">
          <ac:chgData name="Votana Srey" userId="13bee0a8-d205-440d-95f7-48959fdcf002" providerId="ADAL" clId="{B5E189C9-5450-494E-BD80-4D42325D9B73}" dt="2023-03-10T15:25:12.568" v="1047" actId="478"/>
          <ac:spMkLst>
            <pc:docMk/>
            <pc:sldMk cId="1200473443" sldId="2147470152"/>
            <ac:spMk id="35" creationId="{339CD3C1-6B19-57FC-135E-C420A6E6FBB5}"/>
          </ac:spMkLst>
        </pc:spChg>
        <pc:spChg chg="mod">
          <ac:chgData name="Votana Srey" userId="13bee0a8-d205-440d-95f7-48959fdcf002" providerId="ADAL" clId="{B5E189C9-5450-494E-BD80-4D42325D9B73}" dt="2023-03-10T15:15:37.072" v="874" actId="1035"/>
          <ac:spMkLst>
            <pc:docMk/>
            <pc:sldMk cId="1200473443" sldId="2147470152"/>
            <ac:spMk id="36" creationId="{AD15B592-02EE-9EA2-9CE0-667922F19B55}"/>
          </ac:spMkLst>
        </pc:spChg>
        <pc:spChg chg="mod">
          <ac:chgData name="Votana Srey" userId="13bee0a8-d205-440d-95f7-48959fdcf002" providerId="ADAL" clId="{B5E189C9-5450-494E-BD80-4D42325D9B73}" dt="2023-03-10T15:15:37.072" v="874" actId="1035"/>
          <ac:spMkLst>
            <pc:docMk/>
            <pc:sldMk cId="1200473443" sldId="2147470152"/>
            <ac:spMk id="37" creationId="{8E607640-FC82-EC9A-A0E3-0703EA584FB4}"/>
          </ac:spMkLst>
        </pc:spChg>
        <pc:spChg chg="del">
          <ac:chgData name="Votana Srey" userId="13bee0a8-d205-440d-95f7-48959fdcf002" providerId="ADAL" clId="{B5E189C9-5450-494E-BD80-4D42325D9B73}" dt="2023-03-10T15:05:41.190" v="597" actId="478"/>
          <ac:spMkLst>
            <pc:docMk/>
            <pc:sldMk cId="1200473443" sldId="2147470152"/>
            <ac:spMk id="38" creationId="{D8DCF604-7FF8-22C0-5534-CD5E1FD40ECA}"/>
          </ac:spMkLst>
        </pc:spChg>
        <pc:spChg chg="del">
          <ac:chgData name="Votana Srey" userId="13bee0a8-d205-440d-95f7-48959fdcf002" providerId="ADAL" clId="{B5E189C9-5450-494E-BD80-4D42325D9B73}" dt="2023-03-10T15:05:41.190" v="597" actId="478"/>
          <ac:spMkLst>
            <pc:docMk/>
            <pc:sldMk cId="1200473443" sldId="2147470152"/>
            <ac:spMk id="39" creationId="{7AC2E41B-CC29-476A-483F-886CFD120AB9}"/>
          </ac:spMkLst>
        </pc:spChg>
        <pc:spChg chg="del">
          <ac:chgData name="Votana Srey" userId="13bee0a8-d205-440d-95f7-48959fdcf002" providerId="ADAL" clId="{B5E189C9-5450-494E-BD80-4D42325D9B73}" dt="2023-03-10T15:05:41.190" v="597" actId="478"/>
          <ac:spMkLst>
            <pc:docMk/>
            <pc:sldMk cId="1200473443" sldId="2147470152"/>
            <ac:spMk id="40" creationId="{98991FCE-026B-2B71-221D-DEFA0645640C}"/>
          </ac:spMkLst>
        </pc:spChg>
        <pc:spChg chg="del">
          <ac:chgData name="Votana Srey" userId="13bee0a8-d205-440d-95f7-48959fdcf002" providerId="ADAL" clId="{B5E189C9-5450-494E-BD80-4D42325D9B73}" dt="2023-03-10T15:05:41.190" v="597" actId="478"/>
          <ac:spMkLst>
            <pc:docMk/>
            <pc:sldMk cId="1200473443" sldId="2147470152"/>
            <ac:spMk id="42" creationId="{595924B4-3591-8896-54A3-99A808966F83}"/>
          </ac:spMkLst>
        </pc:spChg>
        <pc:spChg chg="add mod">
          <ac:chgData name="Votana Srey" userId="13bee0a8-d205-440d-95f7-48959fdcf002" providerId="ADAL" clId="{B5E189C9-5450-494E-BD80-4D42325D9B73}" dt="2023-03-10T15:11:08.395" v="703" actId="1076"/>
          <ac:spMkLst>
            <pc:docMk/>
            <pc:sldMk cId="1200473443" sldId="2147470152"/>
            <ac:spMk id="43" creationId="{C6C41334-82AE-F924-2F16-958E87FDA033}"/>
          </ac:spMkLst>
        </pc:spChg>
        <pc:spChg chg="del">
          <ac:chgData name="Votana Srey" userId="13bee0a8-d205-440d-95f7-48959fdcf002" providerId="ADAL" clId="{B5E189C9-5450-494E-BD80-4D42325D9B73}" dt="2023-03-10T15:05:41.190" v="597" actId="478"/>
          <ac:spMkLst>
            <pc:docMk/>
            <pc:sldMk cId="1200473443" sldId="2147470152"/>
            <ac:spMk id="44" creationId="{81C17459-A04E-21FE-EB37-79E7005C29FA}"/>
          </ac:spMkLst>
        </pc:spChg>
        <pc:spChg chg="del">
          <ac:chgData name="Votana Srey" userId="13bee0a8-d205-440d-95f7-48959fdcf002" providerId="ADAL" clId="{B5E189C9-5450-494E-BD80-4D42325D9B73}" dt="2023-03-10T15:05:41.190" v="597" actId="478"/>
          <ac:spMkLst>
            <pc:docMk/>
            <pc:sldMk cId="1200473443" sldId="2147470152"/>
            <ac:spMk id="45" creationId="{8140E231-1EDA-9578-6C88-AE7E8444A4A6}"/>
          </ac:spMkLst>
        </pc:spChg>
        <pc:spChg chg="del">
          <ac:chgData name="Votana Srey" userId="13bee0a8-d205-440d-95f7-48959fdcf002" providerId="ADAL" clId="{B5E189C9-5450-494E-BD80-4D42325D9B73}" dt="2023-03-10T15:05:41.190" v="597" actId="478"/>
          <ac:spMkLst>
            <pc:docMk/>
            <pc:sldMk cId="1200473443" sldId="2147470152"/>
            <ac:spMk id="46" creationId="{15D5F002-3449-51D4-6FF4-6BB8D3036D45}"/>
          </ac:spMkLst>
        </pc:spChg>
        <pc:spChg chg="del">
          <ac:chgData name="Votana Srey" userId="13bee0a8-d205-440d-95f7-48959fdcf002" providerId="ADAL" clId="{B5E189C9-5450-494E-BD80-4D42325D9B73}" dt="2023-03-10T15:05:41.190" v="597" actId="478"/>
          <ac:spMkLst>
            <pc:docMk/>
            <pc:sldMk cId="1200473443" sldId="2147470152"/>
            <ac:spMk id="47" creationId="{CDA847C3-DF80-8A48-E446-E7521DA59513}"/>
          </ac:spMkLst>
        </pc:spChg>
        <pc:spChg chg="del mod">
          <ac:chgData name="Votana Srey" userId="13bee0a8-d205-440d-95f7-48959fdcf002" providerId="ADAL" clId="{B5E189C9-5450-494E-BD80-4D42325D9B73}" dt="2023-03-10T15:12:04.109" v="723" actId="478"/>
          <ac:spMkLst>
            <pc:docMk/>
            <pc:sldMk cId="1200473443" sldId="2147470152"/>
            <ac:spMk id="48" creationId="{458E4B34-9CE1-0019-64BD-BD9275F86EE8}"/>
          </ac:spMkLst>
        </pc:spChg>
        <pc:spChg chg="del">
          <ac:chgData name="Votana Srey" userId="13bee0a8-d205-440d-95f7-48959fdcf002" providerId="ADAL" clId="{B5E189C9-5450-494E-BD80-4D42325D9B73}" dt="2023-03-10T14:54:08.464" v="574" actId="478"/>
          <ac:spMkLst>
            <pc:docMk/>
            <pc:sldMk cId="1200473443" sldId="2147470152"/>
            <ac:spMk id="51" creationId="{104AA0CC-FDDA-2ADA-3BDB-A6E047237F43}"/>
          </ac:spMkLst>
        </pc:spChg>
        <pc:spChg chg="del">
          <ac:chgData name="Votana Srey" userId="13bee0a8-d205-440d-95f7-48959fdcf002" providerId="ADAL" clId="{B5E189C9-5450-494E-BD80-4D42325D9B73}" dt="2023-03-10T14:53:56.352" v="570" actId="478"/>
          <ac:spMkLst>
            <pc:docMk/>
            <pc:sldMk cId="1200473443" sldId="2147470152"/>
            <ac:spMk id="52" creationId="{04F7D391-EDD6-CBB2-C5B5-2C12C26FAEC5}"/>
          </ac:spMkLst>
        </pc:spChg>
        <pc:spChg chg="add mod">
          <ac:chgData name="Votana Srey" userId="13bee0a8-d205-440d-95f7-48959fdcf002" providerId="ADAL" clId="{B5E189C9-5450-494E-BD80-4D42325D9B73}" dt="2023-03-10T15:11:19.164" v="707" actId="1076"/>
          <ac:spMkLst>
            <pc:docMk/>
            <pc:sldMk cId="1200473443" sldId="2147470152"/>
            <ac:spMk id="53" creationId="{D26E7EC3-5AAC-1303-AD7E-CF025F2AEBAB}"/>
          </ac:spMkLst>
        </pc:spChg>
        <pc:spChg chg="add mod">
          <ac:chgData name="Votana Srey" userId="13bee0a8-d205-440d-95f7-48959fdcf002" providerId="ADAL" clId="{B5E189C9-5450-494E-BD80-4D42325D9B73}" dt="2023-03-10T15:28:23.785" v="1100" actId="20577"/>
          <ac:spMkLst>
            <pc:docMk/>
            <pc:sldMk cId="1200473443" sldId="2147470152"/>
            <ac:spMk id="54" creationId="{FEE3A812-0574-863B-48B9-051BD7467071}"/>
          </ac:spMkLst>
        </pc:spChg>
        <pc:spChg chg="add mod">
          <ac:chgData name="Votana Srey" userId="13bee0a8-d205-440d-95f7-48959fdcf002" providerId="ADAL" clId="{B5E189C9-5450-494E-BD80-4D42325D9B73}" dt="2023-03-10T15:21:15.993" v="995" actId="207"/>
          <ac:spMkLst>
            <pc:docMk/>
            <pc:sldMk cId="1200473443" sldId="2147470152"/>
            <ac:spMk id="55" creationId="{C6379EC0-3714-E6F5-D63A-0009428A8CC7}"/>
          </ac:spMkLst>
        </pc:spChg>
        <pc:spChg chg="add mod">
          <ac:chgData name="Votana Srey" userId="13bee0a8-d205-440d-95f7-48959fdcf002" providerId="ADAL" clId="{B5E189C9-5450-494E-BD80-4D42325D9B73}" dt="2023-03-10T15:13:57.896" v="763" actId="1076"/>
          <ac:spMkLst>
            <pc:docMk/>
            <pc:sldMk cId="1200473443" sldId="2147470152"/>
            <ac:spMk id="58" creationId="{A7676B55-3209-273F-4F0B-B4834585DBAE}"/>
          </ac:spMkLst>
        </pc:spChg>
        <pc:spChg chg="add del mod">
          <ac:chgData name="Votana Srey" userId="13bee0a8-d205-440d-95f7-48959fdcf002" providerId="ADAL" clId="{B5E189C9-5450-494E-BD80-4D42325D9B73}" dt="2023-03-10T15:13:44.936" v="760" actId="478"/>
          <ac:spMkLst>
            <pc:docMk/>
            <pc:sldMk cId="1200473443" sldId="2147470152"/>
            <ac:spMk id="61" creationId="{A6BD606B-676B-1287-C21B-89E1D8FC1D3E}"/>
          </ac:spMkLst>
        </pc:spChg>
        <pc:spChg chg="mod">
          <ac:chgData name="Votana Srey" userId="13bee0a8-d205-440d-95f7-48959fdcf002" providerId="ADAL" clId="{B5E189C9-5450-494E-BD80-4D42325D9B73}" dt="2023-03-10T14:49:50.012" v="554" actId="14100"/>
          <ac:spMkLst>
            <pc:docMk/>
            <pc:sldMk cId="1200473443" sldId="2147470152"/>
            <ac:spMk id="62" creationId="{C0830C9B-A823-8465-965B-8FED1C8F4DC6}"/>
          </ac:spMkLst>
        </pc:spChg>
        <pc:spChg chg="add mod">
          <ac:chgData name="Votana Srey" userId="13bee0a8-d205-440d-95f7-48959fdcf002" providerId="ADAL" clId="{B5E189C9-5450-494E-BD80-4D42325D9B73}" dt="2023-03-10T15:33:30.837" v="1104" actId="1076"/>
          <ac:spMkLst>
            <pc:docMk/>
            <pc:sldMk cId="1200473443" sldId="2147470152"/>
            <ac:spMk id="63" creationId="{13B9F673-6E17-5CE4-02E0-1516C5829949}"/>
          </ac:spMkLst>
        </pc:spChg>
        <pc:spChg chg="add mod">
          <ac:chgData name="Votana Srey" userId="13bee0a8-d205-440d-95f7-48959fdcf002" providerId="ADAL" clId="{B5E189C9-5450-494E-BD80-4D42325D9B73}" dt="2023-03-10T15:33:54.167" v="1127" actId="1076"/>
          <ac:spMkLst>
            <pc:docMk/>
            <pc:sldMk cId="1200473443" sldId="2147470152"/>
            <ac:spMk id="1037" creationId="{63D80ECD-356B-13C0-DB48-552B2E203D1E}"/>
          </ac:spMkLst>
        </pc:spChg>
        <pc:spChg chg="add mod">
          <ac:chgData name="Votana Srey" userId="13bee0a8-d205-440d-95f7-48959fdcf002" providerId="ADAL" clId="{B5E189C9-5450-494E-BD80-4D42325D9B73}" dt="2023-03-10T15:17:37.028" v="892" actId="1076"/>
          <ac:spMkLst>
            <pc:docMk/>
            <pc:sldMk cId="1200473443" sldId="2147470152"/>
            <ac:spMk id="1040" creationId="{A0C41ABC-F2FF-5258-DB01-129ECE2446DD}"/>
          </ac:spMkLst>
        </pc:spChg>
        <pc:spChg chg="add mod">
          <ac:chgData name="Votana Srey" userId="13bee0a8-d205-440d-95f7-48959fdcf002" providerId="ADAL" clId="{B5E189C9-5450-494E-BD80-4D42325D9B73}" dt="2023-03-10T15:23:23.735" v="1024" actId="1076"/>
          <ac:spMkLst>
            <pc:docMk/>
            <pc:sldMk cId="1200473443" sldId="2147470152"/>
            <ac:spMk id="1041" creationId="{E3A72A8C-0A22-5D98-A86C-FB3748A9DF4A}"/>
          </ac:spMkLst>
        </pc:spChg>
        <pc:spChg chg="add mod">
          <ac:chgData name="Votana Srey" userId="13bee0a8-d205-440d-95f7-48959fdcf002" providerId="ADAL" clId="{B5E189C9-5450-494E-BD80-4D42325D9B73}" dt="2023-03-10T15:22:24.681" v="1009" actId="571"/>
          <ac:spMkLst>
            <pc:docMk/>
            <pc:sldMk cId="1200473443" sldId="2147470152"/>
            <ac:spMk id="1044" creationId="{09DCDB7F-8861-E50D-AA0D-AFB9B773E701}"/>
          </ac:spMkLst>
        </pc:spChg>
        <pc:spChg chg="add mod">
          <ac:chgData name="Votana Srey" userId="13bee0a8-d205-440d-95f7-48959fdcf002" providerId="ADAL" clId="{B5E189C9-5450-494E-BD80-4D42325D9B73}" dt="2023-03-10T15:23:47.125" v="1030" actId="1076"/>
          <ac:spMkLst>
            <pc:docMk/>
            <pc:sldMk cId="1200473443" sldId="2147470152"/>
            <ac:spMk id="1045" creationId="{676A1141-B7D7-B1B5-6E53-AAF7029EDA2B}"/>
          </ac:spMkLst>
        </pc:spChg>
        <pc:spChg chg="add mod">
          <ac:chgData name="Votana Srey" userId="13bee0a8-d205-440d-95f7-48959fdcf002" providerId="ADAL" clId="{B5E189C9-5450-494E-BD80-4D42325D9B73}" dt="2023-03-10T15:23:00.990" v="1017" actId="1076"/>
          <ac:spMkLst>
            <pc:docMk/>
            <pc:sldMk cId="1200473443" sldId="2147470152"/>
            <ac:spMk id="1046" creationId="{279A0D12-9493-B6F3-5157-8EFDF59B90E0}"/>
          </ac:spMkLst>
        </pc:spChg>
        <pc:spChg chg="add mod">
          <ac:chgData name="Votana Srey" userId="13bee0a8-d205-440d-95f7-48959fdcf002" providerId="ADAL" clId="{B5E189C9-5450-494E-BD80-4D42325D9B73}" dt="2023-03-10T15:23:41.481" v="1029" actId="1076"/>
          <ac:spMkLst>
            <pc:docMk/>
            <pc:sldMk cId="1200473443" sldId="2147470152"/>
            <ac:spMk id="1052" creationId="{C75944C5-98BF-3801-C087-330F1CF413D8}"/>
          </ac:spMkLst>
        </pc:spChg>
        <pc:spChg chg="add mod">
          <ac:chgData name="Votana Srey" userId="13bee0a8-d205-440d-95f7-48959fdcf002" providerId="ADAL" clId="{B5E189C9-5450-494E-BD80-4D42325D9B73}" dt="2023-03-10T15:24:56.224" v="1044" actId="14100"/>
          <ac:spMkLst>
            <pc:docMk/>
            <pc:sldMk cId="1200473443" sldId="2147470152"/>
            <ac:spMk id="1055" creationId="{BC12E7E7-E880-9200-8033-6CE66BAF031A}"/>
          </ac:spMkLst>
        </pc:spChg>
        <pc:spChg chg="add mod">
          <ac:chgData name="Votana Srey" userId="13bee0a8-d205-440d-95f7-48959fdcf002" providerId="ADAL" clId="{B5E189C9-5450-494E-BD80-4D42325D9B73}" dt="2023-03-10T15:25:04.717" v="1046" actId="1076"/>
          <ac:spMkLst>
            <pc:docMk/>
            <pc:sldMk cId="1200473443" sldId="2147470152"/>
            <ac:spMk id="1056" creationId="{9B7A8892-990F-0EB2-765C-F08FB8480340}"/>
          </ac:spMkLst>
        </pc:spChg>
        <pc:spChg chg="add mod">
          <ac:chgData name="Votana Srey" userId="13bee0a8-d205-440d-95f7-48959fdcf002" providerId="ADAL" clId="{B5E189C9-5450-494E-BD80-4D42325D9B73}" dt="2023-03-10T15:25:26.263" v="1050" actId="14100"/>
          <ac:spMkLst>
            <pc:docMk/>
            <pc:sldMk cId="1200473443" sldId="2147470152"/>
            <ac:spMk id="1057" creationId="{1203F925-AF70-E304-5B28-ECBD304AA14D}"/>
          </ac:spMkLst>
        </pc:spChg>
        <pc:spChg chg="add mod">
          <ac:chgData name="Votana Srey" userId="13bee0a8-d205-440d-95f7-48959fdcf002" providerId="ADAL" clId="{B5E189C9-5450-494E-BD80-4D42325D9B73}" dt="2023-03-10T15:26:51.149" v="1070" actId="20577"/>
          <ac:spMkLst>
            <pc:docMk/>
            <pc:sldMk cId="1200473443" sldId="2147470152"/>
            <ac:spMk id="1059" creationId="{D92889B4-5CFA-5EDA-ECD6-43A3CBA72952}"/>
          </ac:spMkLst>
        </pc:spChg>
        <pc:spChg chg="add mod">
          <ac:chgData name="Votana Srey" userId="13bee0a8-d205-440d-95f7-48959fdcf002" providerId="ADAL" clId="{B5E189C9-5450-494E-BD80-4D42325D9B73}" dt="2023-03-10T15:27:02.329" v="1080" actId="20577"/>
          <ac:spMkLst>
            <pc:docMk/>
            <pc:sldMk cId="1200473443" sldId="2147470152"/>
            <ac:spMk id="1060" creationId="{DAC45659-891E-58E6-21A5-7543B6DEF14D}"/>
          </ac:spMkLst>
        </pc:spChg>
        <pc:spChg chg="add mod">
          <ac:chgData name="Votana Srey" userId="13bee0a8-d205-440d-95f7-48959fdcf002" providerId="ADAL" clId="{B5E189C9-5450-494E-BD80-4D42325D9B73}" dt="2023-03-10T15:27:14.682" v="1093" actId="20577"/>
          <ac:spMkLst>
            <pc:docMk/>
            <pc:sldMk cId="1200473443" sldId="2147470152"/>
            <ac:spMk id="1061" creationId="{2BE0C5F1-F98D-D0F1-1FFB-F61A9E5A05F7}"/>
          </ac:spMkLst>
        </pc:spChg>
        <pc:spChg chg="add mod">
          <ac:chgData name="Votana Srey" userId="13bee0a8-d205-440d-95f7-48959fdcf002" providerId="ADAL" clId="{B5E189C9-5450-494E-BD80-4D42325D9B73}" dt="2023-03-10T15:33:43.216" v="1126" actId="20577"/>
          <ac:spMkLst>
            <pc:docMk/>
            <pc:sldMk cId="1200473443" sldId="2147470152"/>
            <ac:spMk id="1063" creationId="{74A3658E-20C1-D824-E786-8636897669F2}"/>
          </ac:spMkLst>
        </pc:spChg>
        <pc:grpChg chg="mod">
          <ac:chgData name="Votana Srey" userId="13bee0a8-d205-440d-95f7-48959fdcf002" providerId="ADAL" clId="{B5E189C9-5450-494E-BD80-4D42325D9B73}" dt="2023-03-10T14:49:30.854" v="550" actId="14100"/>
          <ac:grpSpMkLst>
            <pc:docMk/>
            <pc:sldMk cId="1200473443" sldId="2147470152"/>
            <ac:grpSpMk id="24" creationId="{7014BE07-7597-720B-E330-B697577FB88C}"/>
          </ac:grpSpMkLst>
        </pc:grpChg>
        <pc:picChg chg="add mod">
          <ac:chgData name="Votana Srey" userId="13bee0a8-d205-440d-95f7-48959fdcf002" providerId="ADAL" clId="{B5E189C9-5450-494E-BD80-4D42325D9B73}" dt="2023-03-10T15:08:37.374" v="667" actId="1038"/>
          <ac:picMkLst>
            <pc:docMk/>
            <pc:sldMk cId="1200473443" sldId="2147470152"/>
            <ac:picMk id="7" creationId="{EFB29313-6341-23B2-D982-EB6F9829931C}"/>
          </ac:picMkLst>
        </pc:picChg>
        <pc:picChg chg="mod">
          <ac:chgData name="Votana Srey" userId="13bee0a8-d205-440d-95f7-48959fdcf002" providerId="ADAL" clId="{B5E189C9-5450-494E-BD80-4D42325D9B73}" dt="2023-03-10T15:10:56.892" v="701" actId="1038"/>
          <ac:picMkLst>
            <pc:docMk/>
            <pc:sldMk cId="1200473443" sldId="2147470152"/>
            <ac:picMk id="9" creationId="{BF1C81EF-1290-703C-D456-62D1E5DD74A8}"/>
          </ac:picMkLst>
        </pc:picChg>
        <pc:picChg chg="del">
          <ac:chgData name="Votana Srey" userId="13bee0a8-d205-440d-95f7-48959fdcf002" providerId="ADAL" clId="{B5E189C9-5450-494E-BD80-4D42325D9B73}" dt="2023-03-10T15:05:41.190" v="597" actId="478"/>
          <ac:picMkLst>
            <pc:docMk/>
            <pc:sldMk cId="1200473443" sldId="2147470152"/>
            <ac:picMk id="10" creationId="{566BCB2F-7880-F135-B2C9-1976FF607D81}"/>
          </ac:picMkLst>
        </pc:picChg>
        <pc:picChg chg="del">
          <ac:chgData name="Votana Srey" userId="13bee0a8-d205-440d-95f7-48959fdcf002" providerId="ADAL" clId="{B5E189C9-5450-494E-BD80-4D42325D9B73}" dt="2023-03-10T15:05:41.190" v="597" actId="478"/>
          <ac:picMkLst>
            <pc:docMk/>
            <pc:sldMk cId="1200473443" sldId="2147470152"/>
            <ac:picMk id="11" creationId="{18ACC618-B595-D285-55D8-47EC607EFE89}"/>
          </ac:picMkLst>
        </pc:picChg>
        <pc:picChg chg="del">
          <ac:chgData name="Votana Srey" userId="13bee0a8-d205-440d-95f7-48959fdcf002" providerId="ADAL" clId="{B5E189C9-5450-494E-BD80-4D42325D9B73}" dt="2023-03-10T15:05:41.190" v="597" actId="478"/>
          <ac:picMkLst>
            <pc:docMk/>
            <pc:sldMk cId="1200473443" sldId="2147470152"/>
            <ac:picMk id="12" creationId="{9733FDD4-BF56-9565-AE91-5FF520C51161}"/>
          </ac:picMkLst>
        </pc:picChg>
        <pc:picChg chg="add del mod">
          <ac:chgData name="Votana Srey" userId="13bee0a8-d205-440d-95f7-48959fdcf002" providerId="ADAL" clId="{B5E189C9-5450-494E-BD80-4D42325D9B73}" dt="2023-03-10T15:04:33.520" v="596" actId="478"/>
          <ac:picMkLst>
            <pc:docMk/>
            <pc:sldMk cId="1200473443" sldId="2147470152"/>
            <ac:picMk id="17" creationId="{C7546BCA-2F97-C451-2378-F8FC22553094}"/>
          </ac:picMkLst>
        </pc:picChg>
        <pc:picChg chg="del">
          <ac:chgData name="Votana Srey" userId="13bee0a8-d205-440d-95f7-48959fdcf002" providerId="ADAL" clId="{B5E189C9-5450-494E-BD80-4D42325D9B73}" dt="2023-03-10T15:05:42.923" v="598" actId="478"/>
          <ac:picMkLst>
            <pc:docMk/>
            <pc:sldMk cId="1200473443" sldId="2147470152"/>
            <ac:picMk id="21" creationId="{9EF69883-CECC-2402-6B22-B9E02B80B625}"/>
          </ac:picMkLst>
        </pc:picChg>
        <pc:picChg chg="del">
          <ac:chgData name="Votana Srey" userId="13bee0a8-d205-440d-95f7-48959fdcf002" providerId="ADAL" clId="{B5E189C9-5450-494E-BD80-4D42325D9B73}" dt="2023-03-10T15:05:41.190" v="597" actId="478"/>
          <ac:picMkLst>
            <pc:docMk/>
            <pc:sldMk cId="1200473443" sldId="2147470152"/>
            <ac:picMk id="22" creationId="{87C47F9E-B094-197A-A570-BBFB350B799D}"/>
          </ac:picMkLst>
        </pc:picChg>
        <pc:picChg chg="mod">
          <ac:chgData name="Votana Srey" userId="13bee0a8-d205-440d-95f7-48959fdcf002" providerId="ADAL" clId="{B5E189C9-5450-494E-BD80-4D42325D9B73}" dt="2023-03-10T14:48:55.328" v="538" actId="14100"/>
          <ac:picMkLst>
            <pc:docMk/>
            <pc:sldMk cId="1200473443" sldId="2147470152"/>
            <ac:picMk id="25" creationId="{11835CD2-07A6-40B1-5DEF-8DDE136D5DA2}"/>
          </ac:picMkLst>
        </pc:picChg>
        <pc:picChg chg="mod modCrop">
          <ac:chgData name="Votana Srey" userId="13bee0a8-d205-440d-95f7-48959fdcf002" providerId="ADAL" clId="{B5E189C9-5450-494E-BD80-4D42325D9B73}" dt="2023-03-10T14:49:18.974" v="545" actId="14100"/>
          <ac:picMkLst>
            <pc:docMk/>
            <pc:sldMk cId="1200473443" sldId="2147470152"/>
            <ac:picMk id="26" creationId="{306AEB80-EDE0-20F0-2066-1DA98BDE677F}"/>
          </ac:picMkLst>
        </pc:picChg>
        <pc:picChg chg="mod">
          <ac:chgData name="Votana Srey" userId="13bee0a8-d205-440d-95f7-48959fdcf002" providerId="ADAL" clId="{B5E189C9-5450-494E-BD80-4D42325D9B73}" dt="2023-03-10T14:49:03.691" v="541" actId="1076"/>
          <ac:picMkLst>
            <pc:docMk/>
            <pc:sldMk cId="1200473443" sldId="2147470152"/>
            <ac:picMk id="27" creationId="{62BDDA82-03FB-3DA2-A731-92B4D6127EC9}"/>
          </ac:picMkLst>
        </pc:picChg>
        <pc:picChg chg="mod">
          <ac:chgData name="Votana Srey" userId="13bee0a8-d205-440d-95f7-48959fdcf002" providerId="ADAL" clId="{B5E189C9-5450-494E-BD80-4D42325D9B73}" dt="2023-03-10T14:48:41.107" v="532" actId="1076"/>
          <ac:picMkLst>
            <pc:docMk/>
            <pc:sldMk cId="1200473443" sldId="2147470152"/>
            <ac:picMk id="28" creationId="{A3713589-B76E-C7DD-3A52-01974FF6916B}"/>
          </ac:picMkLst>
        </pc:picChg>
        <pc:picChg chg="del">
          <ac:chgData name="Votana Srey" userId="13bee0a8-d205-440d-95f7-48959fdcf002" providerId="ADAL" clId="{B5E189C9-5450-494E-BD80-4D42325D9B73}" dt="2023-03-10T14:45:17.191" v="454" actId="478"/>
          <ac:picMkLst>
            <pc:docMk/>
            <pc:sldMk cId="1200473443" sldId="2147470152"/>
            <ac:picMk id="29" creationId="{9F12AF40-3FEE-2631-8DA1-22048329F813}"/>
          </ac:picMkLst>
        </pc:picChg>
        <pc:picChg chg="del">
          <ac:chgData name="Votana Srey" userId="13bee0a8-d205-440d-95f7-48959fdcf002" providerId="ADAL" clId="{B5E189C9-5450-494E-BD80-4D42325D9B73}" dt="2023-03-10T15:05:41.190" v="597" actId="478"/>
          <ac:picMkLst>
            <pc:docMk/>
            <pc:sldMk cId="1200473443" sldId="2147470152"/>
            <ac:picMk id="41" creationId="{89E0C420-8ED6-54FF-AC27-41549CD703D6}"/>
          </ac:picMkLst>
        </pc:picChg>
        <pc:picChg chg="del">
          <ac:chgData name="Votana Srey" userId="13bee0a8-d205-440d-95f7-48959fdcf002" providerId="ADAL" clId="{B5E189C9-5450-494E-BD80-4D42325D9B73}" dt="2023-03-10T14:54:03.883" v="573" actId="478"/>
          <ac:picMkLst>
            <pc:docMk/>
            <pc:sldMk cId="1200473443" sldId="2147470152"/>
            <ac:picMk id="50" creationId="{09ED17A7-187B-792F-1F6E-961906B9097F}"/>
          </ac:picMkLst>
        </pc:picChg>
        <pc:picChg chg="add mod">
          <ac:chgData name="Votana Srey" userId="13bee0a8-d205-440d-95f7-48959fdcf002" providerId="ADAL" clId="{B5E189C9-5450-494E-BD80-4D42325D9B73}" dt="2023-03-10T15:13:57.896" v="763" actId="1076"/>
          <ac:picMkLst>
            <pc:docMk/>
            <pc:sldMk cId="1200473443" sldId="2147470152"/>
            <ac:picMk id="60" creationId="{28DB64F6-B806-639A-6718-0BAD2AE3B416}"/>
          </ac:picMkLst>
        </pc:picChg>
        <pc:picChg chg="add mod">
          <ac:chgData name="Votana Srey" userId="13bee0a8-d205-440d-95f7-48959fdcf002" providerId="ADAL" clId="{B5E189C9-5450-494E-BD80-4D42325D9B73}" dt="2023-03-10T15:08:46.315" v="690" actId="1076"/>
          <ac:picMkLst>
            <pc:docMk/>
            <pc:sldMk cId="1200473443" sldId="2147470152"/>
            <ac:picMk id="1026" creationId="{1E2972A5-C25A-BB49-1E42-78EAAB4C5CA7}"/>
          </ac:picMkLst>
        </pc:picChg>
        <pc:picChg chg="add mod modCrop">
          <ac:chgData name="Votana Srey" userId="13bee0a8-d205-440d-95f7-48959fdcf002" providerId="ADAL" clId="{B5E189C9-5450-494E-BD80-4D42325D9B73}" dt="2023-03-10T15:23:00.990" v="1017" actId="1076"/>
          <ac:picMkLst>
            <pc:docMk/>
            <pc:sldMk cId="1200473443" sldId="2147470152"/>
            <ac:picMk id="1039" creationId="{C4B0F996-5791-4A4C-58BF-9CF927DF81AA}"/>
          </ac:picMkLst>
        </pc:picChg>
        <pc:picChg chg="add mod modCrop">
          <ac:chgData name="Votana Srey" userId="13bee0a8-d205-440d-95f7-48959fdcf002" providerId="ADAL" clId="{B5E189C9-5450-494E-BD80-4D42325D9B73}" dt="2023-03-10T15:26:37.272" v="1057" actId="1076"/>
          <ac:picMkLst>
            <pc:docMk/>
            <pc:sldMk cId="1200473443" sldId="2147470152"/>
            <ac:picMk id="1043" creationId="{56620AB5-E92E-AC2F-1E3F-21A246E52E36}"/>
          </ac:picMkLst>
        </pc:picChg>
        <pc:picChg chg="add mod modCrop">
          <ac:chgData name="Votana Srey" userId="13bee0a8-d205-440d-95f7-48959fdcf002" providerId="ADAL" clId="{B5E189C9-5450-494E-BD80-4D42325D9B73}" dt="2023-03-10T15:26:11.609" v="1055" actId="1076"/>
          <ac:picMkLst>
            <pc:docMk/>
            <pc:sldMk cId="1200473443" sldId="2147470152"/>
            <ac:picMk id="1054" creationId="{D13E08CB-9675-591D-938F-BE9F44A4F5B5}"/>
          </ac:picMkLst>
        </pc:picChg>
        <pc:picChg chg="add mod">
          <ac:chgData name="Votana Srey" userId="13bee0a8-d205-440d-95f7-48959fdcf002" providerId="ADAL" clId="{B5E189C9-5450-494E-BD80-4D42325D9B73}" dt="2023-03-10T15:26:07.924" v="1053" actId="1076"/>
          <ac:picMkLst>
            <pc:docMk/>
            <pc:sldMk cId="1200473443" sldId="2147470152"/>
            <ac:picMk id="1058" creationId="{9F0E00EC-D306-DB6C-E0F0-A118EE2D7FAA}"/>
          </ac:picMkLst>
        </pc:picChg>
        <pc:cxnChg chg="mod">
          <ac:chgData name="Votana Srey" userId="13bee0a8-d205-440d-95f7-48959fdcf002" providerId="ADAL" clId="{B5E189C9-5450-494E-BD80-4D42325D9B73}" dt="2023-03-10T15:34:26.853" v="1133" actId="14100"/>
          <ac:cxnSpMkLst>
            <pc:docMk/>
            <pc:sldMk cId="1200473443" sldId="2147470152"/>
            <ac:cxnSpMk id="49" creationId="{F1352309-5335-CB7F-96FA-ADD2F5AA395A}"/>
          </ac:cxnSpMkLst>
        </pc:cxnChg>
        <pc:cxnChg chg="add mod">
          <ac:chgData name="Votana Srey" userId="13bee0a8-d205-440d-95f7-48959fdcf002" providerId="ADAL" clId="{B5E189C9-5450-494E-BD80-4D42325D9B73}" dt="2023-03-10T15:15:23.652" v="854" actId="14100"/>
          <ac:cxnSpMkLst>
            <pc:docMk/>
            <pc:sldMk cId="1200473443" sldId="2147470152"/>
            <ac:cxnSpMk id="1032" creationId="{8ED43224-BE67-1298-6966-1EE24FE37F03}"/>
          </ac:cxnSpMkLst>
        </pc:cxnChg>
        <pc:cxnChg chg="add mod">
          <ac:chgData name="Votana Srey" userId="13bee0a8-d205-440d-95f7-48959fdcf002" providerId="ADAL" clId="{B5E189C9-5450-494E-BD80-4D42325D9B73}" dt="2023-03-10T15:23:23.735" v="1024" actId="1076"/>
          <ac:cxnSpMkLst>
            <pc:docMk/>
            <pc:sldMk cId="1200473443" sldId="2147470152"/>
            <ac:cxnSpMk id="1047" creationId="{069D8D26-16AB-0566-08B8-FAC05460E8DF}"/>
          </ac:cxnSpMkLst>
        </pc:cxnChg>
        <pc:cxnChg chg="add del mod">
          <ac:chgData name="Votana Srey" userId="13bee0a8-d205-440d-95f7-48959fdcf002" providerId="ADAL" clId="{B5E189C9-5450-494E-BD80-4D42325D9B73}" dt="2023-03-10T15:33:58.294" v="1128" actId="478"/>
          <ac:cxnSpMkLst>
            <pc:docMk/>
            <pc:sldMk cId="1200473443" sldId="2147470152"/>
            <ac:cxnSpMk id="1051" creationId="{4D7C783A-798C-A9D9-2239-4EE295ACD849}"/>
          </ac:cxnSpMkLst>
        </pc:cxnChg>
        <pc:cxnChg chg="add mod">
          <ac:chgData name="Votana Srey" userId="13bee0a8-d205-440d-95f7-48959fdcf002" providerId="ADAL" clId="{B5E189C9-5450-494E-BD80-4D42325D9B73}" dt="2023-03-10T15:34:10.165" v="1132" actId="14100"/>
          <ac:cxnSpMkLst>
            <pc:docMk/>
            <pc:sldMk cId="1200473443" sldId="2147470152"/>
            <ac:cxnSpMk id="1065" creationId="{DCDBE390-9424-C6FE-BDB7-45AE6858177C}"/>
          </ac:cxnSpMkLst>
        </pc:cxnChg>
      </pc:sldChg>
      <pc:sldChg chg="addSp delSp modSp add del mod">
        <pc:chgData name="Votana Srey" userId="13bee0a8-d205-440d-95f7-48959fdcf002" providerId="ADAL" clId="{B5E189C9-5450-494E-BD80-4D42325D9B73}" dt="2023-03-07T15:25:35.375" v="145" actId="47"/>
        <pc:sldMkLst>
          <pc:docMk/>
          <pc:sldMk cId="1426424649" sldId="2147470152"/>
        </pc:sldMkLst>
        <pc:spChg chg="mod">
          <ac:chgData name="Votana Srey" userId="13bee0a8-d205-440d-95f7-48959fdcf002" providerId="ADAL" clId="{B5E189C9-5450-494E-BD80-4D42325D9B73}" dt="2023-03-07T15:22:33.292" v="124" actId="1076"/>
          <ac:spMkLst>
            <pc:docMk/>
            <pc:sldMk cId="1426424649" sldId="2147470152"/>
            <ac:spMk id="3" creationId="{F426DDA5-F46C-4CFE-526D-152E6692BF69}"/>
          </ac:spMkLst>
        </pc:spChg>
        <pc:spChg chg="add del mod">
          <ac:chgData name="Votana Srey" userId="13bee0a8-d205-440d-95f7-48959fdcf002" providerId="ADAL" clId="{B5E189C9-5450-494E-BD80-4D42325D9B73}" dt="2023-03-07T15:23:26.023" v="134" actId="478"/>
          <ac:spMkLst>
            <pc:docMk/>
            <pc:sldMk cId="1426424649" sldId="2147470152"/>
            <ac:spMk id="4" creationId="{7D379B23-AF95-3CBE-C67F-86D6365A9AA9}"/>
          </ac:spMkLst>
        </pc:spChg>
        <pc:spChg chg="del">
          <ac:chgData name="Votana Srey" userId="13bee0a8-d205-440d-95f7-48959fdcf002" providerId="ADAL" clId="{B5E189C9-5450-494E-BD80-4D42325D9B73}" dt="2023-03-07T15:22:22.531" v="120" actId="478"/>
          <ac:spMkLst>
            <pc:docMk/>
            <pc:sldMk cId="1426424649" sldId="2147470152"/>
            <ac:spMk id="5" creationId="{70993FD2-E5BA-478C-A0ED-C6BECF7055DA}"/>
          </ac:spMkLst>
        </pc:spChg>
        <pc:spChg chg="add del mod">
          <ac:chgData name="Votana Srey" userId="13bee0a8-d205-440d-95f7-48959fdcf002" providerId="ADAL" clId="{B5E189C9-5450-494E-BD80-4D42325D9B73}" dt="2023-03-07T15:25:14.625" v="144" actId="478"/>
          <ac:spMkLst>
            <pc:docMk/>
            <pc:sldMk cId="1426424649" sldId="2147470152"/>
            <ac:spMk id="9" creationId="{F5F98D92-1756-52CE-1B2F-4DB5D57CCCD6}"/>
          </ac:spMkLst>
        </pc:spChg>
        <pc:spChg chg="del">
          <ac:chgData name="Votana Srey" userId="13bee0a8-d205-440d-95f7-48959fdcf002" providerId="ADAL" clId="{B5E189C9-5450-494E-BD80-4D42325D9B73}" dt="2023-03-07T15:22:39.185" v="125" actId="478"/>
          <ac:spMkLst>
            <pc:docMk/>
            <pc:sldMk cId="1426424649" sldId="2147470152"/>
            <ac:spMk id="24" creationId="{174BFD3C-C91C-447B-8FB7-9247936F241C}"/>
          </ac:spMkLst>
        </pc:spChg>
        <pc:spChg chg="del">
          <ac:chgData name="Votana Srey" userId="13bee0a8-d205-440d-95f7-48959fdcf002" providerId="ADAL" clId="{B5E189C9-5450-494E-BD80-4D42325D9B73}" dt="2023-03-07T15:22:22.531" v="120" actId="478"/>
          <ac:spMkLst>
            <pc:docMk/>
            <pc:sldMk cId="1426424649" sldId="2147470152"/>
            <ac:spMk id="26" creationId="{7815324A-EF1F-4304-8093-6F01DCDE8F79}"/>
          </ac:spMkLst>
        </pc:spChg>
        <pc:spChg chg="del">
          <ac:chgData name="Votana Srey" userId="13bee0a8-d205-440d-95f7-48959fdcf002" providerId="ADAL" clId="{B5E189C9-5450-494E-BD80-4D42325D9B73}" dt="2023-03-07T15:22:22.531" v="120" actId="478"/>
          <ac:spMkLst>
            <pc:docMk/>
            <pc:sldMk cId="1426424649" sldId="2147470152"/>
            <ac:spMk id="27" creationId="{C5D1750E-8D41-4699-9BFC-A3F6EAB051CC}"/>
          </ac:spMkLst>
        </pc:spChg>
        <pc:spChg chg="del">
          <ac:chgData name="Votana Srey" userId="13bee0a8-d205-440d-95f7-48959fdcf002" providerId="ADAL" clId="{B5E189C9-5450-494E-BD80-4D42325D9B73}" dt="2023-03-07T15:22:39.185" v="125" actId="478"/>
          <ac:spMkLst>
            <pc:docMk/>
            <pc:sldMk cId="1426424649" sldId="2147470152"/>
            <ac:spMk id="37" creationId="{26B3BF32-C308-41F7-8B6C-99B1ABD0DFA9}"/>
          </ac:spMkLst>
        </pc:spChg>
        <pc:spChg chg="del">
          <ac:chgData name="Votana Srey" userId="13bee0a8-d205-440d-95f7-48959fdcf002" providerId="ADAL" clId="{B5E189C9-5450-494E-BD80-4D42325D9B73}" dt="2023-03-07T15:22:39.185" v="125" actId="478"/>
          <ac:spMkLst>
            <pc:docMk/>
            <pc:sldMk cId="1426424649" sldId="2147470152"/>
            <ac:spMk id="39" creationId="{3A40EE30-DBC2-45B8-B20A-C7B752D6F0DB}"/>
          </ac:spMkLst>
        </pc:spChg>
        <pc:spChg chg="del">
          <ac:chgData name="Votana Srey" userId="13bee0a8-d205-440d-95f7-48959fdcf002" providerId="ADAL" clId="{B5E189C9-5450-494E-BD80-4D42325D9B73}" dt="2023-03-07T15:22:22.531" v="120" actId="478"/>
          <ac:spMkLst>
            <pc:docMk/>
            <pc:sldMk cId="1426424649" sldId="2147470152"/>
            <ac:spMk id="40" creationId="{F331B591-ED56-428B-ADA6-A2B3C0C59471}"/>
          </ac:spMkLst>
        </pc:spChg>
        <pc:spChg chg="del">
          <ac:chgData name="Votana Srey" userId="13bee0a8-d205-440d-95f7-48959fdcf002" providerId="ADAL" clId="{B5E189C9-5450-494E-BD80-4D42325D9B73}" dt="2023-03-07T15:22:39.185" v="125" actId="478"/>
          <ac:spMkLst>
            <pc:docMk/>
            <pc:sldMk cId="1426424649" sldId="2147470152"/>
            <ac:spMk id="41" creationId="{0BD4BFF0-7DC6-41D4-A424-5D2861F08E33}"/>
          </ac:spMkLst>
        </pc:spChg>
        <pc:spChg chg="del">
          <ac:chgData name="Votana Srey" userId="13bee0a8-d205-440d-95f7-48959fdcf002" providerId="ADAL" clId="{B5E189C9-5450-494E-BD80-4D42325D9B73}" dt="2023-03-07T15:22:22.531" v="120" actId="478"/>
          <ac:spMkLst>
            <pc:docMk/>
            <pc:sldMk cId="1426424649" sldId="2147470152"/>
            <ac:spMk id="42" creationId="{F7E9604F-5373-46FE-A6E4-F177E6F430BD}"/>
          </ac:spMkLst>
        </pc:spChg>
        <pc:spChg chg="del">
          <ac:chgData name="Votana Srey" userId="13bee0a8-d205-440d-95f7-48959fdcf002" providerId="ADAL" clId="{B5E189C9-5450-494E-BD80-4D42325D9B73}" dt="2023-03-07T15:22:22.531" v="120" actId="478"/>
          <ac:spMkLst>
            <pc:docMk/>
            <pc:sldMk cId="1426424649" sldId="2147470152"/>
            <ac:spMk id="43" creationId="{62E07033-8CC9-409B-94B5-C96763880C3A}"/>
          </ac:spMkLst>
        </pc:spChg>
        <pc:spChg chg="del">
          <ac:chgData name="Votana Srey" userId="13bee0a8-d205-440d-95f7-48959fdcf002" providerId="ADAL" clId="{B5E189C9-5450-494E-BD80-4D42325D9B73}" dt="2023-03-07T15:22:22.531" v="120" actId="478"/>
          <ac:spMkLst>
            <pc:docMk/>
            <pc:sldMk cId="1426424649" sldId="2147470152"/>
            <ac:spMk id="45" creationId="{CE9EE052-BC82-478F-920E-C365AC252908}"/>
          </ac:spMkLst>
        </pc:spChg>
        <pc:spChg chg="del">
          <ac:chgData name="Votana Srey" userId="13bee0a8-d205-440d-95f7-48959fdcf002" providerId="ADAL" clId="{B5E189C9-5450-494E-BD80-4D42325D9B73}" dt="2023-03-07T15:22:22.531" v="120" actId="478"/>
          <ac:spMkLst>
            <pc:docMk/>
            <pc:sldMk cId="1426424649" sldId="2147470152"/>
            <ac:spMk id="46" creationId="{60D4DEFB-C502-4AC7-AFF2-4F02E6505E77}"/>
          </ac:spMkLst>
        </pc:spChg>
        <pc:spChg chg="del">
          <ac:chgData name="Votana Srey" userId="13bee0a8-d205-440d-95f7-48959fdcf002" providerId="ADAL" clId="{B5E189C9-5450-494E-BD80-4D42325D9B73}" dt="2023-03-07T15:22:39.185" v="125" actId="478"/>
          <ac:spMkLst>
            <pc:docMk/>
            <pc:sldMk cId="1426424649" sldId="2147470152"/>
            <ac:spMk id="47" creationId="{B818B4FA-BC3B-4BEF-BE7B-79D0A83A2964}"/>
          </ac:spMkLst>
        </pc:spChg>
        <pc:spChg chg="del">
          <ac:chgData name="Votana Srey" userId="13bee0a8-d205-440d-95f7-48959fdcf002" providerId="ADAL" clId="{B5E189C9-5450-494E-BD80-4D42325D9B73}" dt="2023-03-07T15:22:26.830" v="121" actId="478"/>
          <ac:spMkLst>
            <pc:docMk/>
            <pc:sldMk cId="1426424649" sldId="2147470152"/>
            <ac:spMk id="50" creationId="{E19136AD-B9E0-4137-AEBB-0C65466E6C68}"/>
          </ac:spMkLst>
        </pc:spChg>
        <pc:spChg chg="del">
          <ac:chgData name="Votana Srey" userId="13bee0a8-d205-440d-95f7-48959fdcf002" providerId="ADAL" clId="{B5E189C9-5450-494E-BD80-4D42325D9B73}" dt="2023-03-07T15:22:26.830" v="121" actId="478"/>
          <ac:spMkLst>
            <pc:docMk/>
            <pc:sldMk cId="1426424649" sldId="2147470152"/>
            <ac:spMk id="51" creationId="{C32A56F2-6EB0-466C-BA98-FB2A5CFA11A0}"/>
          </ac:spMkLst>
        </pc:spChg>
        <pc:picChg chg="add del mod">
          <ac:chgData name="Votana Srey" userId="13bee0a8-d205-440d-95f7-48959fdcf002" providerId="ADAL" clId="{B5E189C9-5450-494E-BD80-4D42325D9B73}" dt="2023-03-07T15:24:32.720" v="141" actId="478"/>
          <ac:picMkLst>
            <pc:docMk/>
            <pc:sldMk cId="1426424649" sldId="2147470152"/>
            <ac:picMk id="7" creationId="{D7E2405C-10FE-EC32-F7B1-1E09C6F1A81D}"/>
          </ac:picMkLst>
        </pc:picChg>
        <pc:picChg chg="add del mod">
          <ac:chgData name="Votana Srey" userId="13bee0a8-d205-440d-95f7-48959fdcf002" providerId="ADAL" clId="{B5E189C9-5450-494E-BD80-4D42325D9B73}" dt="2023-03-07T15:24:32.720" v="141" actId="478"/>
          <ac:picMkLst>
            <pc:docMk/>
            <pc:sldMk cId="1426424649" sldId="2147470152"/>
            <ac:picMk id="21" creationId="{A5579201-9C31-46EA-967C-13AF844BCCBA}"/>
          </ac:picMkLst>
        </pc:picChg>
      </pc:sldChg>
      <pc:sldChg chg="add">
        <pc:chgData name="Votana Srey" userId="13bee0a8-d205-440d-95f7-48959fdcf002" providerId="ADAL" clId="{B5E189C9-5450-494E-BD80-4D42325D9B73}" dt="2023-03-10T14:41:34.837" v="317"/>
        <pc:sldMkLst>
          <pc:docMk/>
          <pc:sldMk cId="2331346827" sldId="2147470153"/>
        </pc:sldMkLst>
      </pc:sldChg>
    </pc:docChg>
  </pc:docChgLst>
  <pc:docChgLst>
    <pc:chgData name="Votana Srey" userId="13bee0a8-d205-440d-95f7-48959fdcf002" providerId="ADAL" clId="{0D44528D-A8F9-4657-BEDD-69DBD6A2190B}"/>
    <pc:docChg chg="undo custSel addSld delSld modSld sldOrd delSection modSection">
      <pc:chgData name="Votana Srey" userId="13bee0a8-d205-440d-95f7-48959fdcf002" providerId="ADAL" clId="{0D44528D-A8F9-4657-BEDD-69DBD6A2190B}" dt="2023-02-17T17:35:07.865" v="4176" actId="14100"/>
      <pc:docMkLst>
        <pc:docMk/>
      </pc:docMkLst>
      <pc:sldChg chg="add del">
        <pc:chgData name="Votana Srey" userId="13bee0a8-d205-440d-95f7-48959fdcf002" providerId="ADAL" clId="{0D44528D-A8F9-4657-BEDD-69DBD6A2190B}" dt="2023-02-09T04:38:37.446" v="2647" actId="47"/>
        <pc:sldMkLst>
          <pc:docMk/>
          <pc:sldMk cId="3521603740" sldId="259"/>
        </pc:sldMkLst>
      </pc:sldChg>
      <pc:sldChg chg="delSp modSp add del mod">
        <pc:chgData name="Votana Srey" userId="13bee0a8-d205-440d-95f7-48959fdcf002" providerId="ADAL" clId="{0D44528D-A8F9-4657-BEDD-69DBD6A2190B}" dt="2023-02-02T17:37:09.074" v="1134" actId="47"/>
        <pc:sldMkLst>
          <pc:docMk/>
          <pc:sldMk cId="831049540" sldId="270"/>
        </pc:sldMkLst>
        <pc:spChg chg="del mod">
          <ac:chgData name="Votana Srey" userId="13bee0a8-d205-440d-95f7-48959fdcf002" providerId="ADAL" clId="{0D44528D-A8F9-4657-BEDD-69DBD6A2190B}" dt="2023-02-02T17:15:30.307" v="881" actId="478"/>
          <ac:spMkLst>
            <pc:docMk/>
            <pc:sldMk cId="831049540" sldId="270"/>
            <ac:spMk id="2" creationId="{00000000-0000-0000-0000-000000000000}"/>
          </ac:spMkLst>
        </pc:spChg>
        <pc:spChg chg="mod">
          <ac:chgData name="Votana Srey" userId="13bee0a8-d205-440d-95f7-48959fdcf002" providerId="ADAL" clId="{0D44528D-A8F9-4657-BEDD-69DBD6A2190B}" dt="2023-02-02T17:26:46.924" v="1095" actId="20577"/>
          <ac:spMkLst>
            <pc:docMk/>
            <pc:sldMk cId="831049540" sldId="270"/>
            <ac:spMk id="3" creationId="{51E810BD-DD6A-4EED-BE93-25BA9414C048}"/>
          </ac:spMkLst>
        </pc:spChg>
        <pc:spChg chg="del mod">
          <ac:chgData name="Votana Srey" userId="13bee0a8-d205-440d-95f7-48959fdcf002" providerId="ADAL" clId="{0D44528D-A8F9-4657-BEDD-69DBD6A2190B}" dt="2023-02-02T16:50:16.244" v="691"/>
          <ac:spMkLst>
            <pc:docMk/>
            <pc:sldMk cId="831049540" sldId="270"/>
            <ac:spMk id="4" creationId="{304E3AE1-3A93-43BC-ADF2-95520CEFD510}"/>
          </ac:spMkLst>
        </pc:spChg>
        <pc:spChg chg="del">
          <ac:chgData name="Votana Srey" userId="13bee0a8-d205-440d-95f7-48959fdcf002" providerId="ADAL" clId="{0D44528D-A8F9-4657-BEDD-69DBD6A2190B}" dt="2023-02-02T16:50:37.635" v="696" actId="478"/>
          <ac:spMkLst>
            <pc:docMk/>
            <pc:sldMk cId="831049540" sldId="270"/>
            <ac:spMk id="124" creationId="{00000000-0000-0000-0000-000000000000}"/>
          </ac:spMkLst>
        </pc:spChg>
        <pc:grpChg chg="del">
          <ac:chgData name="Votana Srey" userId="13bee0a8-d205-440d-95f7-48959fdcf002" providerId="ADAL" clId="{0D44528D-A8F9-4657-BEDD-69DBD6A2190B}" dt="2023-02-02T16:50:25.979" v="693" actId="478"/>
          <ac:grpSpMkLst>
            <pc:docMk/>
            <pc:sldMk cId="831049540" sldId="270"/>
            <ac:grpSpMk id="5" creationId="{00000000-0000-0000-0000-000000000000}"/>
          </ac:grpSpMkLst>
        </pc:grpChg>
      </pc:sldChg>
      <pc:sldChg chg="del">
        <pc:chgData name="Votana Srey" userId="13bee0a8-d205-440d-95f7-48959fdcf002" providerId="ADAL" clId="{0D44528D-A8F9-4657-BEDD-69DBD6A2190B}" dt="2023-02-02T18:07:45.394" v="2015" actId="47"/>
        <pc:sldMkLst>
          <pc:docMk/>
          <pc:sldMk cId="243773554" sldId="332"/>
        </pc:sldMkLst>
      </pc:sldChg>
      <pc:sldChg chg="del">
        <pc:chgData name="Votana Srey" userId="13bee0a8-d205-440d-95f7-48959fdcf002" providerId="ADAL" clId="{0D44528D-A8F9-4657-BEDD-69DBD6A2190B}" dt="2023-02-02T18:07:42.627" v="2008" actId="47"/>
        <pc:sldMkLst>
          <pc:docMk/>
          <pc:sldMk cId="1910150847" sldId="338"/>
        </pc:sldMkLst>
      </pc:sldChg>
      <pc:sldChg chg="add del">
        <pc:chgData name="Votana Srey" userId="13bee0a8-d205-440d-95f7-48959fdcf002" providerId="ADAL" clId="{0D44528D-A8F9-4657-BEDD-69DBD6A2190B}" dt="2023-02-02T18:07:40.376" v="2005" actId="47"/>
        <pc:sldMkLst>
          <pc:docMk/>
          <pc:sldMk cId="950698566" sldId="339"/>
        </pc:sldMkLst>
      </pc:sldChg>
      <pc:sldChg chg="del">
        <pc:chgData name="Votana Srey" userId="13bee0a8-d205-440d-95f7-48959fdcf002" providerId="ADAL" clId="{0D44528D-A8F9-4657-BEDD-69DBD6A2190B}" dt="2023-02-02T18:07:34.114" v="2002" actId="47"/>
        <pc:sldMkLst>
          <pc:docMk/>
          <pc:sldMk cId="1094937022" sldId="342"/>
        </pc:sldMkLst>
      </pc:sldChg>
      <pc:sldChg chg="del">
        <pc:chgData name="Votana Srey" userId="13bee0a8-d205-440d-95f7-48959fdcf002" providerId="ADAL" clId="{0D44528D-A8F9-4657-BEDD-69DBD6A2190B}" dt="2023-02-02T18:07:44.139" v="2011" actId="47"/>
        <pc:sldMkLst>
          <pc:docMk/>
          <pc:sldMk cId="1481466802" sldId="346"/>
        </pc:sldMkLst>
      </pc:sldChg>
      <pc:sldChg chg="del">
        <pc:chgData name="Votana Srey" userId="13bee0a8-d205-440d-95f7-48959fdcf002" providerId="ADAL" clId="{0D44528D-A8F9-4657-BEDD-69DBD6A2190B}" dt="2023-02-02T18:07:43.723" v="2010" actId="47"/>
        <pc:sldMkLst>
          <pc:docMk/>
          <pc:sldMk cId="1069711565" sldId="347"/>
        </pc:sldMkLst>
      </pc:sldChg>
      <pc:sldChg chg="del">
        <pc:chgData name="Votana Srey" userId="13bee0a8-d205-440d-95f7-48959fdcf002" providerId="ADAL" clId="{0D44528D-A8F9-4657-BEDD-69DBD6A2190B}" dt="2023-02-02T18:07:43.268" v="2009" actId="47"/>
        <pc:sldMkLst>
          <pc:docMk/>
          <pc:sldMk cId="1709756990" sldId="349"/>
        </pc:sldMkLst>
      </pc:sldChg>
      <pc:sldChg chg="del">
        <pc:chgData name="Votana Srey" userId="13bee0a8-d205-440d-95f7-48959fdcf002" providerId="ADAL" clId="{0D44528D-A8F9-4657-BEDD-69DBD6A2190B}" dt="2023-02-02T18:07:45.094" v="2014" actId="47"/>
        <pc:sldMkLst>
          <pc:docMk/>
          <pc:sldMk cId="235027308" sldId="358"/>
        </pc:sldMkLst>
      </pc:sldChg>
      <pc:sldChg chg="del">
        <pc:chgData name="Votana Srey" userId="13bee0a8-d205-440d-95f7-48959fdcf002" providerId="ADAL" clId="{0D44528D-A8F9-4657-BEDD-69DBD6A2190B}" dt="2023-02-02T18:07:44.526" v="2012" actId="47"/>
        <pc:sldMkLst>
          <pc:docMk/>
          <pc:sldMk cId="1195304006" sldId="360"/>
        </pc:sldMkLst>
      </pc:sldChg>
      <pc:sldChg chg="del">
        <pc:chgData name="Votana Srey" userId="13bee0a8-d205-440d-95f7-48959fdcf002" providerId="ADAL" clId="{0D44528D-A8F9-4657-BEDD-69DBD6A2190B}" dt="2023-02-02T18:07:44.891" v="2013" actId="47"/>
        <pc:sldMkLst>
          <pc:docMk/>
          <pc:sldMk cId="1389402221" sldId="362"/>
        </pc:sldMkLst>
      </pc:sldChg>
      <pc:sldChg chg="addSp delSp modSp mod modClrScheme chgLayout">
        <pc:chgData name="Votana Srey" userId="13bee0a8-d205-440d-95f7-48959fdcf002" providerId="ADAL" clId="{0D44528D-A8F9-4657-BEDD-69DBD6A2190B}" dt="2023-02-02T17:36:17.667" v="1128" actId="11529"/>
        <pc:sldMkLst>
          <pc:docMk/>
          <pc:sldMk cId="2115834336" sldId="365"/>
        </pc:sldMkLst>
        <pc:spChg chg="del mod ord">
          <ac:chgData name="Votana Srey" userId="13bee0a8-d205-440d-95f7-48959fdcf002" providerId="ADAL" clId="{0D44528D-A8F9-4657-BEDD-69DBD6A2190B}" dt="2023-02-02T16:51:51.984" v="721" actId="478"/>
          <ac:spMkLst>
            <pc:docMk/>
            <pc:sldMk cId="2115834336" sldId="365"/>
            <ac:spMk id="4" creationId="{4AF8DB76-A1BB-53E6-60F7-6C2E10718A84}"/>
          </ac:spMkLst>
        </pc:spChg>
        <pc:spChg chg="del mod ord">
          <ac:chgData name="Votana Srey" userId="13bee0a8-d205-440d-95f7-48959fdcf002" providerId="ADAL" clId="{0D44528D-A8F9-4657-BEDD-69DBD6A2190B}" dt="2023-02-02T16:51:48.659" v="720" actId="478"/>
          <ac:spMkLst>
            <pc:docMk/>
            <pc:sldMk cId="2115834336" sldId="365"/>
            <ac:spMk id="5" creationId="{E2A9A272-C378-770B-D57A-D67FA2F82F87}"/>
          </ac:spMkLst>
        </pc:spChg>
        <pc:spChg chg="add">
          <ac:chgData name="Votana Srey" userId="13bee0a8-d205-440d-95f7-48959fdcf002" providerId="ADAL" clId="{0D44528D-A8F9-4657-BEDD-69DBD6A2190B}" dt="2023-02-02T17:36:17.667" v="1128" actId="11529"/>
          <ac:spMkLst>
            <pc:docMk/>
            <pc:sldMk cId="2115834336" sldId="365"/>
            <ac:spMk id="9" creationId="{1E1C5D32-994B-DDFB-A485-F46AF9D16241}"/>
          </ac:spMkLst>
        </pc:spChg>
        <pc:picChg chg="add mod">
          <ac:chgData name="Votana Srey" userId="13bee0a8-d205-440d-95f7-48959fdcf002" providerId="ADAL" clId="{0D44528D-A8F9-4657-BEDD-69DBD6A2190B}" dt="2023-02-02T16:51:57.449" v="722"/>
          <ac:picMkLst>
            <pc:docMk/>
            <pc:sldMk cId="2115834336" sldId="365"/>
            <ac:picMk id="2" creationId="{4736E829-714B-298F-7CF3-82415E043E68}"/>
          </ac:picMkLst>
        </pc:picChg>
        <pc:picChg chg="add del mod">
          <ac:chgData name="Votana Srey" userId="13bee0a8-d205-440d-95f7-48959fdcf002" providerId="ADAL" clId="{0D44528D-A8F9-4657-BEDD-69DBD6A2190B}" dt="2023-02-02T17:33:48.330" v="1125" actId="478"/>
          <ac:picMkLst>
            <pc:docMk/>
            <pc:sldMk cId="2115834336" sldId="365"/>
            <ac:picMk id="6" creationId="{C597E6E2-8880-54B7-127B-AF68C6D3E00E}"/>
          </ac:picMkLst>
        </pc:picChg>
        <pc:picChg chg="add mod">
          <ac:chgData name="Votana Srey" userId="13bee0a8-d205-440d-95f7-48959fdcf002" providerId="ADAL" clId="{0D44528D-A8F9-4657-BEDD-69DBD6A2190B}" dt="2023-02-02T17:36:03.182" v="1127" actId="1076"/>
          <ac:picMkLst>
            <pc:docMk/>
            <pc:sldMk cId="2115834336" sldId="365"/>
            <ac:picMk id="8" creationId="{8B124F51-E14E-DC8D-8100-E1E9FA48C86B}"/>
          </ac:picMkLst>
        </pc:picChg>
        <pc:picChg chg="add del mod">
          <ac:chgData name="Votana Srey" userId="13bee0a8-d205-440d-95f7-48959fdcf002" providerId="ADAL" clId="{0D44528D-A8F9-4657-BEDD-69DBD6A2190B}" dt="2023-02-02T17:33:48.330" v="1125" actId="478"/>
          <ac:picMkLst>
            <pc:docMk/>
            <pc:sldMk cId="2115834336" sldId="365"/>
            <ac:picMk id="1026" creationId="{E88739CE-365D-AF12-AF32-DB1A48B0F08E}"/>
          </ac:picMkLst>
        </pc:picChg>
        <pc:picChg chg="add del mod">
          <ac:chgData name="Votana Srey" userId="13bee0a8-d205-440d-95f7-48959fdcf002" providerId="ADAL" clId="{0D44528D-A8F9-4657-BEDD-69DBD6A2190B}" dt="2023-02-02T17:33:48.330" v="1125" actId="478"/>
          <ac:picMkLst>
            <pc:docMk/>
            <pc:sldMk cId="2115834336" sldId="365"/>
            <ac:picMk id="1028" creationId="{12B7007C-9A10-3476-BF07-155CFD18DA6C}"/>
          </ac:picMkLst>
        </pc:picChg>
      </pc:sldChg>
      <pc:sldChg chg="del">
        <pc:chgData name="Votana Srey" userId="13bee0a8-d205-440d-95f7-48959fdcf002" providerId="ADAL" clId="{0D44528D-A8F9-4657-BEDD-69DBD6A2190B}" dt="2023-02-02T18:07:55.048" v="2034" actId="47"/>
        <pc:sldMkLst>
          <pc:docMk/>
          <pc:sldMk cId="457683382" sldId="366"/>
        </pc:sldMkLst>
      </pc:sldChg>
      <pc:sldChg chg="addSp modSp mod ord">
        <pc:chgData name="Votana Srey" userId="13bee0a8-d205-440d-95f7-48959fdcf002" providerId="ADAL" clId="{0D44528D-A8F9-4657-BEDD-69DBD6A2190B}" dt="2023-02-02T16:46:05.806" v="687" actId="1076"/>
        <pc:sldMkLst>
          <pc:docMk/>
          <pc:sldMk cId="2238106741" sldId="367"/>
        </pc:sldMkLst>
        <pc:spChg chg="mod">
          <ac:chgData name="Votana Srey" userId="13bee0a8-d205-440d-95f7-48959fdcf002" providerId="ADAL" clId="{0D44528D-A8F9-4657-BEDD-69DBD6A2190B}" dt="2023-02-02T16:44:46.905" v="586" actId="14100"/>
          <ac:spMkLst>
            <pc:docMk/>
            <pc:sldMk cId="2238106741" sldId="367"/>
            <ac:spMk id="4" creationId="{3E03A014-9F0D-98FC-32FA-190C52A42019}"/>
          </ac:spMkLst>
        </pc:spChg>
        <pc:spChg chg="mod">
          <ac:chgData name="Votana Srey" userId="13bee0a8-d205-440d-95f7-48959fdcf002" providerId="ADAL" clId="{0D44528D-A8F9-4657-BEDD-69DBD6A2190B}" dt="2023-02-02T16:45:30.771" v="685" actId="113"/>
          <ac:spMkLst>
            <pc:docMk/>
            <pc:sldMk cId="2238106741" sldId="367"/>
            <ac:spMk id="5" creationId="{9E431F0F-FF18-17D3-2E26-FE0321670AA8}"/>
          </ac:spMkLst>
        </pc:spChg>
        <pc:picChg chg="add mod">
          <ac:chgData name="Votana Srey" userId="13bee0a8-d205-440d-95f7-48959fdcf002" providerId="ADAL" clId="{0D44528D-A8F9-4657-BEDD-69DBD6A2190B}" dt="2023-02-02T16:46:05.806" v="687" actId="1076"/>
          <ac:picMkLst>
            <pc:docMk/>
            <pc:sldMk cId="2238106741" sldId="367"/>
            <ac:picMk id="2" creationId="{51E93A66-B153-8852-53E4-07A339CD2566}"/>
          </ac:picMkLst>
        </pc:picChg>
      </pc:sldChg>
      <pc:sldChg chg="del">
        <pc:chgData name="Votana Srey" userId="13bee0a8-d205-440d-95f7-48959fdcf002" providerId="ADAL" clId="{0D44528D-A8F9-4657-BEDD-69DBD6A2190B}" dt="2023-02-02T18:07:33.304" v="2001" actId="47"/>
        <pc:sldMkLst>
          <pc:docMk/>
          <pc:sldMk cId="708417623" sldId="369"/>
        </pc:sldMkLst>
      </pc:sldChg>
      <pc:sldChg chg="del">
        <pc:chgData name="Votana Srey" userId="13bee0a8-d205-440d-95f7-48959fdcf002" providerId="ADAL" clId="{0D44528D-A8F9-4657-BEDD-69DBD6A2190B}" dt="2023-02-02T18:07:46.035" v="2016" actId="47"/>
        <pc:sldMkLst>
          <pc:docMk/>
          <pc:sldMk cId="2565627084" sldId="371"/>
        </pc:sldMkLst>
      </pc:sldChg>
      <pc:sldChg chg="del">
        <pc:chgData name="Votana Srey" userId="13bee0a8-d205-440d-95f7-48959fdcf002" providerId="ADAL" clId="{0D44528D-A8F9-4657-BEDD-69DBD6A2190B}" dt="2023-02-02T18:07:46.506" v="2017" actId="47"/>
        <pc:sldMkLst>
          <pc:docMk/>
          <pc:sldMk cId="3877938776" sldId="372"/>
        </pc:sldMkLst>
      </pc:sldChg>
      <pc:sldChg chg="del">
        <pc:chgData name="Votana Srey" userId="13bee0a8-d205-440d-95f7-48959fdcf002" providerId="ADAL" clId="{0D44528D-A8F9-4657-BEDD-69DBD6A2190B}" dt="2023-02-02T18:07:47.283" v="2019" actId="47"/>
        <pc:sldMkLst>
          <pc:docMk/>
          <pc:sldMk cId="1397350690" sldId="373"/>
        </pc:sldMkLst>
      </pc:sldChg>
      <pc:sldChg chg="del">
        <pc:chgData name="Votana Srey" userId="13bee0a8-d205-440d-95f7-48959fdcf002" providerId="ADAL" clId="{0D44528D-A8F9-4657-BEDD-69DBD6A2190B}" dt="2023-02-02T18:07:47.886" v="2021" actId="47"/>
        <pc:sldMkLst>
          <pc:docMk/>
          <pc:sldMk cId="3887803650" sldId="374"/>
        </pc:sldMkLst>
      </pc:sldChg>
      <pc:sldChg chg="addSp delSp modSp add del mod modClrScheme chgLayout">
        <pc:chgData name="Votana Srey" userId="13bee0a8-d205-440d-95f7-48959fdcf002" providerId="ADAL" clId="{0D44528D-A8F9-4657-BEDD-69DBD6A2190B}" dt="2023-02-03T02:13:48.015" v="2595" actId="1038"/>
        <pc:sldMkLst>
          <pc:docMk/>
          <pc:sldMk cId="3805922499" sldId="3358"/>
        </pc:sldMkLst>
        <pc:spChg chg="del mod ord">
          <ac:chgData name="Votana Srey" userId="13bee0a8-d205-440d-95f7-48959fdcf002" providerId="ADAL" clId="{0D44528D-A8F9-4657-BEDD-69DBD6A2190B}" dt="2023-02-02T18:02:48.688" v="1750" actId="478"/>
          <ac:spMkLst>
            <pc:docMk/>
            <pc:sldMk cId="3805922499" sldId="3358"/>
            <ac:spMk id="2" creationId="{BF53ED27-7FE6-4202-B0A0-29E344F89D35}"/>
          </ac:spMkLst>
        </pc:spChg>
        <pc:spChg chg="add mod">
          <ac:chgData name="Votana Srey" userId="13bee0a8-d205-440d-95f7-48959fdcf002" providerId="ADAL" clId="{0D44528D-A8F9-4657-BEDD-69DBD6A2190B}" dt="2023-02-03T02:12:18.789" v="2568" actId="1037"/>
          <ac:spMkLst>
            <pc:docMk/>
            <pc:sldMk cId="3805922499" sldId="3358"/>
            <ac:spMk id="3" creationId="{FA226BB7-DA39-CDB7-C74A-FD4EEEAA2B6C}"/>
          </ac:spMkLst>
        </pc:spChg>
        <pc:spChg chg="del">
          <ac:chgData name="Votana Srey" userId="13bee0a8-d205-440d-95f7-48959fdcf002" providerId="ADAL" clId="{0D44528D-A8F9-4657-BEDD-69DBD6A2190B}" dt="2023-02-02T18:02:32.999" v="1748" actId="700"/>
          <ac:spMkLst>
            <pc:docMk/>
            <pc:sldMk cId="3805922499" sldId="3358"/>
            <ac:spMk id="4" creationId="{5AD5FD1E-61B7-4233-A3E2-09FC10F44A1C}"/>
          </ac:spMkLst>
        </pc:spChg>
        <pc:spChg chg="mod">
          <ac:chgData name="Votana Srey" userId="13bee0a8-d205-440d-95f7-48959fdcf002" providerId="ADAL" clId="{0D44528D-A8F9-4657-BEDD-69DBD6A2190B}" dt="2023-02-02T18:03:47.668" v="1857" actId="207"/>
          <ac:spMkLst>
            <pc:docMk/>
            <pc:sldMk cId="3805922499" sldId="3358"/>
            <ac:spMk id="7" creationId="{632464BB-24B2-4920-A74D-D8618DDA72C5}"/>
          </ac:spMkLst>
        </pc:spChg>
        <pc:spChg chg="mod">
          <ac:chgData name="Votana Srey" userId="13bee0a8-d205-440d-95f7-48959fdcf002" providerId="ADAL" clId="{0D44528D-A8F9-4657-BEDD-69DBD6A2190B}" dt="2023-02-02T18:03:47.668" v="1857" actId="207"/>
          <ac:spMkLst>
            <pc:docMk/>
            <pc:sldMk cId="3805922499" sldId="3358"/>
            <ac:spMk id="8" creationId="{16C86254-61F8-4909-8F94-8AFB9576BD34}"/>
          </ac:spMkLst>
        </pc:spChg>
        <pc:spChg chg="mod">
          <ac:chgData name="Votana Srey" userId="13bee0a8-d205-440d-95f7-48959fdcf002" providerId="ADAL" clId="{0D44528D-A8F9-4657-BEDD-69DBD6A2190B}" dt="2023-02-02T18:03:47.668" v="1857" actId="207"/>
          <ac:spMkLst>
            <pc:docMk/>
            <pc:sldMk cId="3805922499" sldId="3358"/>
            <ac:spMk id="13" creationId="{90A78B1E-02A3-4847-AF5E-9076E811FDC5}"/>
          </ac:spMkLst>
        </pc:spChg>
        <pc:spChg chg="add mod">
          <ac:chgData name="Votana Srey" userId="13bee0a8-d205-440d-95f7-48959fdcf002" providerId="ADAL" clId="{0D44528D-A8F9-4657-BEDD-69DBD6A2190B}" dt="2023-02-03T02:13:48.015" v="2595" actId="1038"/>
          <ac:spMkLst>
            <pc:docMk/>
            <pc:sldMk cId="3805922499" sldId="3358"/>
            <ac:spMk id="18" creationId="{9ECBF4F5-2DD6-D69C-7BE9-EEBAEB1985FE}"/>
          </ac:spMkLst>
        </pc:spChg>
        <pc:spChg chg="add mod">
          <ac:chgData name="Votana Srey" userId="13bee0a8-d205-440d-95f7-48959fdcf002" providerId="ADAL" clId="{0D44528D-A8F9-4657-BEDD-69DBD6A2190B}" dt="2023-02-03T02:13:48.015" v="2595" actId="1038"/>
          <ac:spMkLst>
            <pc:docMk/>
            <pc:sldMk cId="3805922499" sldId="3358"/>
            <ac:spMk id="19" creationId="{648CED10-7171-0D0A-8DFB-9505654866DF}"/>
          </ac:spMkLst>
        </pc:spChg>
        <pc:spChg chg="mod">
          <ac:chgData name="Votana Srey" userId="13bee0a8-d205-440d-95f7-48959fdcf002" providerId="ADAL" clId="{0D44528D-A8F9-4657-BEDD-69DBD6A2190B}" dt="2023-02-02T18:03:47.668" v="1857" actId="207"/>
          <ac:spMkLst>
            <pc:docMk/>
            <pc:sldMk cId="3805922499" sldId="3358"/>
            <ac:spMk id="43" creationId="{711748B7-A61C-48EE-B51D-4FC593219A11}"/>
          </ac:spMkLst>
        </pc:spChg>
        <pc:spChg chg="mod">
          <ac:chgData name="Votana Srey" userId="13bee0a8-d205-440d-95f7-48959fdcf002" providerId="ADAL" clId="{0D44528D-A8F9-4657-BEDD-69DBD6A2190B}" dt="2023-02-02T18:04:05.219" v="1875" actId="1038"/>
          <ac:spMkLst>
            <pc:docMk/>
            <pc:sldMk cId="3805922499" sldId="3358"/>
            <ac:spMk id="82" creationId="{12FD5DEE-A063-45C5-A68A-D2BFDA53DA3B}"/>
          </ac:spMkLst>
        </pc:spChg>
        <pc:spChg chg="mod">
          <ac:chgData name="Votana Srey" userId="13bee0a8-d205-440d-95f7-48959fdcf002" providerId="ADAL" clId="{0D44528D-A8F9-4657-BEDD-69DBD6A2190B}" dt="2023-02-02T18:04:05.219" v="1875" actId="1038"/>
          <ac:spMkLst>
            <pc:docMk/>
            <pc:sldMk cId="3805922499" sldId="3358"/>
            <ac:spMk id="88" creationId="{47144593-0E07-4C3F-8A17-27C6C77E89AC}"/>
          </ac:spMkLst>
        </pc:spChg>
        <pc:spChg chg="mod">
          <ac:chgData name="Votana Srey" userId="13bee0a8-d205-440d-95f7-48959fdcf002" providerId="ADAL" clId="{0D44528D-A8F9-4657-BEDD-69DBD6A2190B}" dt="2023-02-03T02:08:42.059" v="2511" actId="20577"/>
          <ac:spMkLst>
            <pc:docMk/>
            <pc:sldMk cId="3805922499" sldId="3358"/>
            <ac:spMk id="95" creationId="{ACFEFECC-2114-4979-9F52-51A450139568}"/>
          </ac:spMkLst>
        </pc:spChg>
        <pc:spChg chg="mod">
          <ac:chgData name="Votana Srey" userId="13bee0a8-d205-440d-95f7-48959fdcf002" providerId="ADAL" clId="{0D44528D-A8F9-4657-BEDD-69DBD6A2190B}" dt="2023-02-03T02:08:49.663" v="2527" actId="20577"/>
          <ac:spMkLst>
            <pc:docMk/>
            <pc:sldMk cId="3805922499" sldId="3358"/>
            <ac:spMk id="96" creationId="{F3EA08E7-7D10-4176-AE26-DB4884618F15}"/>
          </ac:spMkLst>
        </pc:spChg>
        <pc:spChg chg="mod">
          <ac:chgData name="Votana Srey" userId="13bee0a8-d205-440d-95f7-48959fdcf002" providerId="ADAL" clId="{0D44528D-A8F9-4657-BEDD-69DBD6A2190B}" dt="2023-02-02T18:03:47.668" v="1857" actId="207"/>
          <ac:spMkLst>
            <pc:docMk/>
            <pc:sldMk cId="3805922499" sldId="3358"/>
            <ac:spMk id="97" creationId="{DFD254A7-6AA5-4D7C-B07C-8153F31B8998}"/>
          </ac:spMkLst>
        </pc:spChg>
        <pc:spChg chg="mod">
          <ac:chgData name="Votana Srey" userId="13bee0a8-d205-440d-95f7-48959fdcf002" providerId="ADAL" clId="{0D44528D-A8F9-4657-BEDD-69DBD6A2190B}" dt="2023-02-02T18:04:05.219" v="1875" actId="1038"/>
          <ac:spMkLst>
            <pc:docMk/>
            <pc:sldMk cId="3805922499" sldId="3358"/>
            <ac:spMk id="132" creationId="{536CEB6C-E337-45B7-93D7-820AAF34586C}"/>
          </ac:spMkLst>
        </pc:spChg>
        <pc:spChg chg="mod">
          <ac:chgData name="Votana Srey" userId="13bee0a8-d205-440d-95f7-48959fdcf002" providerId="ADAL" clId="{0D44528D-A8F9-4657-BEDD-69DBD6A2190B}" dt="2023-02-02T18:04:05.219" v="1875" actId="1038"/>
          <ac:spMkLst>
            <pc:docMk/>
            <pc:sldMk cId="3805922499" sldId="3358"/>
            <ac:spMk id="146" creationId="{49A1F8CF-DB77-41BB-866C-CA420E517C78}"/>
          </ac:spMkLst>
        </pc:spChg>
        <pc:spChg chg="mod">
          <ac:chgData name="Votana Srey" userId="13bee0a8-d205-440d-95f7-48959fdcf002" providerId="ADAL" clId="{0D44528D-A8F9-4657-BEDD-69DBD6A2190B}" dt="2023-02-02T18:04:05.219" v="1875" actId="1038"/>
          <ac:spMkLst>
            <pc:docMk/>
            <pc:sldMk cId="3805922499" sldId="3358"/>
            <ac:spMk id="204" creationId="{D369ED5E-078B-404E-9BF6-70B09D07DA6E}"/>
          </ac:spMkLst>
        </pc:spChg>
        <pc:spChg chg="mod">
          <ac:chgData name="Votana Srey" userId="13bee0a8-d205-440d-95f7-48959fdcf002" providerId="ADAL" clId="{0D44528D-A8F9-4657-BEDD-69DBD6A2190B}" dt="2023-02-03T02:11:08.051" v="2547" actId="1076"/>
          <ac:spMkLst>
            <pc:docMk/>
            <pc:sldMk cId="3805922499" sldId="3358"/>
            <ac:spMk id="236" creationId="{8889F9B6-CF92-4E25-8334-89689AC28DC6}"/>
          </ac:spMkLst>
        </pc:spChg>
        <pc:spChg chg="mod">
          <ac:chgData name="Votana Srey" userId="13bee0a8-d205-440d-95f7-48959fdcf002" providerId="ADAL" clId="{0D44528D-A8F9-4657-BEDD-69DBD6A2190B}" dt="2023-02-03T02:11:13.284" v="2548" actId="1076"/>
          <ac:spMkLst>
            <pc:docMk/>
            <pc:sldMk cId="3805922499" sldId="3358"/>
            <ac:spMk id="237" creationId="{72D5FF38-976A-406A-81B1-BBF8507848E7}"/>
          </ac:spMkLst>
        </pc:spChg>
        <pc:spChg chg="mod">
          <ac:chgData name="Votana Srey" userId="13bee0a8-d205-440d-95f7-48959fdcf002" providerId="ADAL" clId="{0D44528D-A8F9-4657-BEDD-69DBD6A2190B}" dt="2023-02-03T02:11:17.661" v="2549" actId="1076"/>
          <ac:spMkLst>
            <pc:docMk/>
            <pc:sldMk cId="3805922499" sldId="3358"/>
            <ac:spMk id="238" creationId="{2687BC96-19F4-48BF-BEFA-E7B589A3C067}"/>
          </ac:spMkLst>
        </pc:spChg>
        <pc:spChg chg="mod">
          <ac:chgData name="Votana Srey" userId="13bee0a8-d205-440d-95f7-48959fdcf002" providerId="ADAL" clId="{0D44528D-A8F9-4657-BEDD-69DBD6A2190B}" dt="2023-02-03T02:11:22.114" v="2550" actId="1076"/>
          <ac:spMkLst>
            <pc:docMk/>
            <pc:sldMk cId="3805922499" sldId="3358"/>
            <ac:spMk id="239" creationId="{59410BE0-DABB-4CF0-BCC7-40D5C2EBA034}"/>
          </ac:spMkLst>
        </pc:spChg>
        <pc:picChg chg="add mod">
          <ac:chgData name="Votana Srey" userId="13bee0a8-d205-440d-95f7-48959fdcf002" providerId="ADAL" clId="{0D44528D-A8F9-4657-BEDD-69DBD6A2190B}" dt="2023-02-02T18:10:33.401" v="2110"/>
          <ac:picMkLst>
            <pc:docMk/>
            <pc:sldMk cId="3805922499" sldId="3358"/>
            <ac:picMk id="6" creationId="{BFEA8E5B-3925-157E-5096-E5A7FB85F600}"/>
          </ac:picMkLst>
        </pc:picChg>
        <pc:picChg chg="add mod">
          <ac:chgData name="Votana Srey" userId="13bee0a8-d205-440d-95f7-48959fdcf002" providerId="ADAL" clId="{0D44528D-A8F9-4657-BEDD-69DBD6A2190B}" dt="2023-02-03T02:13:26.049" v="2584" actId="1076"/>
          <ac:picMkLst>
            <pc:docMk/>
            <pc:sldMk cId="3805922499" sldId="3358"/>
            <ac:picMk id="17" creationId="{5666DCE4-2EFC-8EB4-F166-478C2D970BE2}"/>
          </ac:picMkLst>
        </pc:picChg>
        <pc:cxnChg chg="mod">
          <ac:chgData name="Votana Srey" userId="13bee0a8-d205-440d-95f7-48959fdcf002" providerId="ADAL" clId="{0D44528D-A8F9-4657-BEDD-69DBD6A2190B}" dt="2023-02-03T02:10:28.174" v="2540" actId="14100"/>
          <ac:cxnSpMkLst>
            <pc:docMk/>
            <pc:sldMk cId="3805922499" sldId="3358"/>
            <ac:cxnSpMk id="241" creationId="{1C233873-5E51-4FDE-AE18-0D4B7D6B7700}"/>
          </ac:cxnSpMkLst>
        </pc:cxnChg>
        <pc:cxnChg chg="mod">
          <ac:chgData name="Votana Srey" userId="13bee0a8-d205-440d-95f7-48959fdcf002" providerId="ADAL" clId="{0D44528D-A8F9-4657-BEDD-69DBD6A2190B}" dt="2023-02-03T02:10:46.664" v="2543" actId="14100"/>
          <ac:cxnSpMkLst>
            <pc:docMk/>
            <pc:sldMk cId="3805922499" sldId="3358"/>
            <ac:cxnSpMk id="242" creationId="{6C5328E6-6E94-448D-BDB9-90C174AFEE69}"/>
          </ac:cxnSpMkLst>
        </pc:cxnChg>
        <pc:cxnChg chg="mod">
          <ac:chgData name="Votana Srey" userId="13bee0a8-d205-440d-95f7-48959fdcf002" providerId="ADAL" clId="{0D44528D-A8F9-4657-BEDD-69DBD6A2190B}" dt="2023-02-03T02:10:53.763" v="2544" actId="14100"/>
          <ac:cxnSpMkLst>
            <pc:docMk/>
            <pc:sldMk cId="3805922499" sldId="3358"/>
            <ac:cxnSpMk id="243" creationId="{FBA93B8E-9BE6-49FA-BA33-64C7195DD52C}"/>
          </ac:cxnSpMkLst>
        </pc:cxnChg>
        <pc:cxnChg chg="mod">
          <ac:chgData name="Votana Srey" userId="13bee0a8-d205-440d-95f7-48959fdcf002" providerId="ADAL" clId="{0D44528D-A8F9-4657-BEDD-69DBD6A2190B}" dt="2023-02-03T02:11:03.584" v="2546" actId="14100"/>
          <ac:cxnSpMkLst>
            <pc:docMk/>
            <pc:sldMk cId="3805922499" sldId="3358"/>
            <ac:cxnSpMk id="244" creationId="{3A08D279-EB45-4B0E-AEA8-6D6199A86014}"/>
          </ac:cxnSpMkLst>
        </pc:cxnChg>
      </pc:sldChg>
      <pc:sldChg chg="addSp modSp add mod ord">
        <pc:chgData name="Votana Srey" userId="13bee0a8-d205-440d-95f7-48959fdcf002" providerId="ADAL" clId="{0D44528D-A8F9-4657-BEDD-69DBD6A2190B}" dt="2023-02-02T17:21:55.947" v="1025" actId="20577"/>
        <pc:sldMkLst>
          <pc:docMk/>
          <pc:sldMk cId="1888050346" sldId="5096"/>
        </pc:sldMkLst>
        <pc:spChg chg="add mod">
          <ac:chgData name="Votana Srey" userId="13bee0a8-d205-440d-95f7-48959fdcf002" providerId="ADAL" clId="{0D44528D-A8F9-4657-BEDD-69DBD6A2190B}" dt="2023-02-02T16:44:11.136" v="561" actId="1038"/>
          <ac:spMkLst>
            <pc:docMk/>
            <pc:sldMk cId="1888050346" sldId="5096"/>
            <ac:spMk id="3" creationId="{F426DDA5-F46C-4CFE-526D-152E6692BF69}"/>
          </ac:spMkLst>
        </pc:spChg>
        <pc:spChg chg="mod">
          <ac:chgData name="Votana Srey" userId="13bee0a8-d205-440d-95f7-48959fdcf002" providerId="ADAL" clId="{0D44528D-A8F9-4657-BEDD-69DBD6A2190B}" dt="2023-02-02T16:43:41.482" v="538" actId="20577"/>
          <ac:spMkLst>
            <pc:docMk/>
            <pc:sldMk cId="1888050346" sldId="5096"/>
            <ac:spMk id="24" creationId="{174BFD3C-C91C-447B-8FB7-9247936F241C}"/>
          </ac:spMkLst>
        </pc:spChg>
        <pc:spChg chg="mod">
          <ac:chgData name="Votana Srey" userId="13bee0a8-d205-440d-95f7-48959fdcf002" providerId="ADAL" clId="{0D44528D-A8F9-4657-BEDD-69DBD6A2190B}" dt="2023-02-02T16:43:59.266" v="553" actId="20577"/>
          <ac:spMkLst>
            <pc:docMk/>
            <pc:sldMk cId="1888050346" sldId="5096"/>
            <ac:spMk id="37" creationId="{26B3BF32-C308-41F7-8B6C-99B1ABD0DFA9}"/>
          </ac:spMkLst>
        </pc:spChg>
        <pc:spChg chg="mod">
          <ac:chgData name="Votana Srey" userId="13bee0a8-d205-440d-95f7-48959fdcf002" providerId="ADAL" clId="{0D44528D-A8F9-4657-BEDD-69DBD6A2190B}" dt="2023-02-02T16:43:35.719" v="528" actId="20577"/>
          <ac:spMkLst>
            <pc:docMk/>
            <pc:sldMk cId="1888050346" sldId="5096"/>
            <ac:spMk id="39" creationId="{3A40EE30-DBC2-45B8-B20A-C7B752D6F0DB}"/>
          </ac:spMkLst>
        </pc:spChg>
        <pc:spChg chg="mod">
          <ac:chgData name="Votana Srey" userId="13bee0a8-d205-440d-95f7-48959fdcf002" providerId="ADAL" clId="{0D44528D-A8F9-4657-BEDD-69DBD6A2190B}" dt="2023-02-02T17:21:55.947" v="1025" actId="20577"/>
          <ac:spMkLst>
            <pc:docMk/>
            <pc:sldMk cId="1888050346" sldId="5096"/>
            <ac:spMk id="41" creationId="{0BD4BFF0-7DC6-41D4-A424-5D2861F08E33}"/>
          </ac:spMkLst>
        </pc:spChg>
        <pc:spChg chg="mod">
          <ac:chgData name="Votana Srey" userId="13bee0a8-d205-440d-95f7-48959fdcf002" providerId="ADAL" clId="{0D44528D-A8F9-4657-BEDD-69DBD6A2190B}" dt="2023-02-02T16:43:52.572" v="549" actId="20577"/>
          <ac:spMkLst>
            <pc:docMk/>
            <pc:sldMk cId="1888050346" sldId="5096"/>
            <ac:spMk id="47" creationId="{B818B4FA-BC3B-4BEF-BE7B-79D0A83A2964}"/>
          </ac:spMkLst>
        </pc:spChg>
      </pc:sldChg>
      <pc:sldChg chg="delSp modSp add mod">
        <pc:chgData name="Votana Srey" userId="13bee0a8-d205-440d-95f7-48959fdcf002" providerId="ADAL" clId="{0D44528D-A8F9-4657-BEDD-69DBD6A2190B}" dt="2023-02-02T17:41:12.654" v="1209" actId="207"/>
        <pc:sldMkLst>
          <pc:docMk/>
          <pc:sldMk cId="2546252987" sldId="10781"/>
        </pc:sldMkLst>
        <pc:spChg chg="mod">
          <ac:chgData name="Votana Srey" userId="13bee0a8-d205-440d-95f7-48959fdcf002" providerId="ADAL" clId="{0D44528D-A8F9-4657-BEDD-69DBD6A2190B}" dt="2023-02-02T17:41:12.654" v="1209" actId="207"/>
          <ac:spMkLst>
            <pc:docMk/>
            <pc:sldMk cId="2546252987" sldId="10781"/>
            <ac:spMk id="3" creationId="{00000000-0000-0000-0000-000000000000}"/>
          </ac:spMkLst>
        </pc:spChg>
        <pc:spChg chg="del mod">
          <ac:chgData name="Votana Srey" userId="13bee0a8-d205-440d-95f7-48959fdcf002" providerId="ADAL" clId="{0D44528D-A8F9-4657-BEDD-69DBD6A2190B}" dt="2023-02-02T17:40:27.696" v="1152" actId="478"/>
          <ac:spMkLst>
            <pc:docMk/>
            <pc:sldMk cId="2546252987" sldId="10781"/>
            <ac:spMk id="4" creationId="{00000000-0000-0000-0000-000000000000}"/>
          </ac:spMkLst>
        </pc:spChg>
        <pc:spChg chg="del mod">
          <ac:chgData name="Votana Srey" userId="13bee0a8-d205-440d-95f7-48959fdcf002" providerId="ADAL" clId="{0D44528D-A8F9-4657-BEDD-69DBD6A2190B}" dt="2023-02-02T17:40:29.622" v="1153" actId="478"/>
          <ac:spMkLst>
            <pc:docMk/>
            <pc:sldMk cId="2546252987" sldId="10781"/>
            <ac:spMk id="26" creationId="{00000000-0000-0000-0000-000000000000}"/>
          </ac:spMkLst>
        </pc:spChg>
        <pc:spChg chg="del mod">
          <ac:chgData name="Votana Srey" userId="13bee0a8-d205-440d-95f7-48959fdcf002" providerId="ADAL" clId="{0D44528D-A8F9-4657-BEDD-69DBD6A2190B}" dt="2023-02-02T17:40:32.104" v="1154" actId="478"/>
          <ac:spMkLst>
            <pc:docMk/>
            <pc:sldMk cId="2546252987" sldId="10781"/>
            <ac:spMk id="27" creationId="{00000000-0000-0000-0000-000000000000}"/>
          </ac:spMkLst>
        </pc:spChg>
        <pc:spChg chg="del">
          <ac:chgData name="Votana Srey" userId="13bee0a8-d205-440d-95f7-48959fdcf002" providerId="ADAL" clId="{0D44528D-A8F9-4657-BEDD-69DBD6A2190B}" dt="2023-02-02T17:40:34.508" v="1155" actId="478"/>
          <ac:spMkLst>
            <pc:docMk/>
            <pc:sldMk cId="2546252987" sldId="10781"/>
            <ac:spMk id="28" creationId="{00000000-0000-0000-0000-000000000000}"/>
          </ac:spMkLst>
        </pc:spChg>
      </pc:sldChg>
      <pc:sldChg chg="add del">
        <pc:chgData name="Votana Srey" userId="13bee0a8-d205-440d-95f7-48959fdcf002" providerId="ADAL" clId="{0D44528D-A8F9-4657-BEDD-69DBD6A2190B}" dt="2023-02-02T17:44:27.880" v="1271" actId="47"/>
        <pc:sldMkLst>
          <pc:docMk/>
          <pc:sldMk cId="1336227486" sldId="10783"/>
        </pc:sldMkLst>
      </pc:sldChg>
      <pc:sldChg chg="addSp modSp mod">
        <pc:chgData name="Votana Srey" userId="13bee0a8-d205-440d-95f7-48959fdcf002" providerId="ADAL" clId="{0D44528D-A8F9-4657-BEDD-69DBD6A2190B}" dt="2023-02-02T16:32:51.241" v="232" actId="1035"/>
        <pc:sldMkLst>
          <pc:docMk/>
          <pc:sldMk cId="1149770232" sldId="2147470097"/>
        </pc:sldMkLst>
        <pc:spChg chg="add mod">
          <ac:chgData name="Votana Srey" userId="13bee0a8-d205-440d-95f7-48959fdcf002" providerId="ADAL" clId="{0D44528D-A8F9-4657-BEDD-69DBD6A2190B}" dt="2023-02-02T16:32:51.241" v="232" actId="1035"/>
          <ac:spMkLst>
            <pc:docMk/>
            <pc:sldMk cId="1149770232" sldId="2147470097"/>
            <ac:spMk id="3" creationId="{797C5129-2A4D-518E-21EC-D245A4EF83CA}"/>
          </ac:spMkLst>
        </pc:spChg>
        <pc:spChg chg="mod">
          <ac:chgData name="Votana Srey" userId="13bee0a8-d205-440d-95f7-48959fdcf002" providerId="ADAL" clId="{0D44528D-A8F9-4657-BEDD-69DBD6A2190B}" dt="2023-02-02T16:31:41.071" v="150" actId="1076"/>
          <ac:spMkLst>
            <pc:docMk/>
            <pc:sldMk cId="1149770232" sldId="2147470097"/>
            <ac:spMk id="4" creationId="{00000000-0000-0000-0000-000000000000}"/>
          </ac:spMkLst>
        </pc:spChg>
        <pc:spChg chg="mod">
          <ac:chgData name="Votana Srey" userId="13bee0a8-d205-440d-95f7-48959fdcf002" providerId="ADAL" clId="{0D44528D-A8F9-4657-BEDD-69DBD6A2190B}" dt="2023-02-02T16:32:43.155" v="203" actId="255"/>
          <ac:spMkLst>
            <pc:docMk/>
            <pc:sldMk cId="1149770232" sldId="2147470097"/>
            <ac:spMk id="5" creationId="{00000000-0000-0000-0000-000000000000}"/>
          </ac:spMkLst>
        </pc:spChg>
        <pc:picChg chg="add mod">
          <ac:chgData name="Votana Srey" userId="13bee0a8-d205-440d-95f7-48959fdcf002" providerId="ADAL" clId="{0D44528D-A8F9-4657-BEDD-69DBD6A2190B}" dt="2023-02-02T16:31:03.823" v="146" actId="1076"/>
          <ac:picMkLst>
            <pc:docMk/>
            <pc:sldMk cId="1149770232" sldId="2147470097"/>
            <ac:picMk id="2" creationId="{30E6E209-DC34-AF65-C18C-E01E43391DA4}"/>
          </ac:picMkLst>
        </pc:picChg>
      </pc:sldChg>
      <pc:sldChg chg="addSp delSp modSp mod modClrScheme chgLayout">
        <pc:chgData name="Votana Srey" userId="13bee0a8-d205-440d-95f7-48959fdcf002" providerId="ADAL" clId="{0D44528D-A8F9-4657-BEDD-69DBD6A2190B}" dt="2023-02-02T18:11:36.117" v="2168" actId="1035"/>
        <pc:sldMkLst>
          <pc:docMk/>
          <pc:sldMk cId="1118502330" sldId="2147470098"/>
        </pc:sldMkLst>
        <pc:spChg chg="add del mod">
          <ac:chgData name="Votana Srey" userId="13bee0a8-d205-440d-95f7-48959fdcf002" providerId="ADAL" clId="{0D44528D-A8F9-4657-BEDD-69DBD6A2190B}" dt="2023-02-02T18:11:30.817" v="2143" actId="478"/>
          <ac:spMkLst>
            <pc:docMk/>
            <pc:sldMk cId="1118502330" sldId="2147470098"/>
            <ac:spMk id="3" creationId="{E1D2EFCB-8BBA-9C87-6A5F-C6173E9FEB43}"/>
          </ac:spMkLst>
        </pc:spChg>
        <pc:spChg chg="mod ord">
          <ac:chgData name="Votana Srey" userId="13bee0a8-d205-440d-95f7-48959fdcf002" providerId="ADAL" clId="{0D44528D-A8F9-4657-BEDD-69DBD6A2190B}" dt="2023-02-02T18:11:36.117" v="2168" actId="1035"/>
          <ac:spMkLst>
            <pc:docMk/>
            <pc:sldMk cId="1118502330" sldId="2147470098"/>
            <ac:spMk id="4" creationId="{00000000-0000-0000-0000-000000000000}"/>
          </ac:spMkLst>
        </pc:spChg>
        <pc:spChg chg="del mod ord">
          <ac:chgData name="Votana Srey" userId="13bee0a8-d205-440d-95f7-48959fdcf002" providerId="ADAL" clId="{0D44528D-A8F9-4657-BEDD-69DBD6A2190B}" dt="2023-02-02T18:11:28.890" v="2142" actId="478"/>
          <ac:spMkLst>
            <pc:docMk/>
            <pc:sldMk cId="1118502330" sldId="2147470098"/>
            <ac:spMk id="5" creationId="{00000000-0000-0000-0000-000000000000}"/>
          </ac:spMkLst>
        </pc:spChg>
      </pc:sldChg>
      <pc:sldChg chg="del">
        <pc:chgData name="Votana Srey" userId="13bee0a8-d205-440d-95f7-48959fdcf002" providerId="ADAL" clId="{0D44528D-A8F9-4657-BEDD-69DBD6A2190B}" dt="2023-02-02T18:07:54.607" v="2033" actId="47"/>
        <pc:sldMkLst>
          <pc:docMk/>
          <pc:sldMk cId="240311571" sldId="2147470100"/>
        </pc:sldMkLst>
      </pc:sldChg>
      <pc:sldChg chg="del">
        <pc:chgData name="Votana Srey" userId="13bee0a8-d205-440d-95f7-48959fdcf002" providerId="ADAL" clId="{0D44528D-A8F9-4657-BEDD-69DBD6A2190B}" dt="2023-02-02T18:07:46.891" v="2018" actId="47"/>
        <pc:sldMkLst>
          <pc:docMk/>
          <pc:sldMk cId="2094536389" sldId="2147470101"/>
        </pc:sldMkLst>
      </pc:sldChg>
      <pc:sldChg chg="del">
        <pc:chgData name="Votana Srey" userId="13bee0a8-d205-440d-95f7-48959fdcf002" providerId="ADAL" clId="{0D44528D-A8F9-4657-BEDD-69DBD6A2190B}" dt="2023-02-02T18:07:47.641" v="2020" actId="47"/>
        <pc:sldMkLst>
          <pc:docMk/>
          <pc:sldMk cId="1944512069" sldId="2147470102"/>
        </pc:sldMkLst>
      </pc:sldChg>
      <pc:sldChg chg="del">
        <pc:chgData name="Votana Srey" userId="13bee0a8-d205-440d-95f7-48959fdcf002" providerId="ADAL" clId="{0D44528D-A8F9-4657-BEDD-69DBD6A2190B}" dt="2023-02-02T18:07:54.450" v="2032" actId="47"/>
        <pc:sldMkLst>
          <pc:docMk/>
          <pc:sldMk cId="1573356619" sldId="2147470104"/>
        </pc:sldMkLst>
      </pc:sldChg>
      <pc:sldChg chg="modSp mod ord">
        <pc:chgData name="Votana Srey" userId="13bee0a8-d205-440d-95f7-48959fdcf002" providerId="ADAL" clId="{0D44528D-A8F9-4657-BEDD-69DBD6A2190B}" dt="2023-02-02T17:51:15.435" v="1525" actId="14100"/>
        <pc:sldMkLst>
          <pc:docMk/>
          <pc:sldMk cId="1588463707" sldId="2147470105"/>
        </pc:sldMkLst>
        <pc:spChg chg="mod">
          <ac:chgData name="Votana Srey" userId="13bee0a8-d205-440d-95f7-48959fdcf002" providerId="ADAL" clId="{0D44528D-A8F9-4657-BEDD-69DBD6A2190B}" dt="2023-02-02T17:51:15.435" v="1525" actId="14100"/>
          <ac:spMkLst>
            <pc:docMk/>
            <pc:sldMk cId="1588463707" sldId="2147470105"/>
            <ac:spMk id="3" creationId="{42753BA3-DCD5-B472-2122-FA188493B6F0}"/>
          </ac:spMkLst>
        </pc:spChg>
      </pc:sldChg>
      <pc:sldChg chg="modSp mod ord">
        <pc:chgData name="Votana Srey" userId="13bee0a8-d205-440d-95f7-48959fdcf002" providerId="ADAL" clId="{0D44528D-A8F9-4657-BEDD-69DBD6A2190B}" dt="2023-02-02T17:50:36.956" v="1507" actId="6559"/>
        <pc:sldMkLst>
          <pc:docMk/>
          <pc:sldMk cId="2506222391" sldId="2147470106"/>
        </pc:sldMkLst>
        <pc:spChg chg="mod">
          <ac:chgData name="Votana Srey" userId="13bee0a8-d205-440d-95f7-48959fdcf002" providerId="ADAL" clId="{0D44528D-A8F9-4657-BEDD-69DBD6A2190B}" dt="2023-02-02T17:50:36.956" v="1507" actId="6559"/>
          <ac:spMkLst>
            <pc:docMk/>
            <pc:sldMk cId="2506222391" sldId="2147470106"/>
            <ac:spMk id="3" creationId="{B4E3B212-F10D-EFE6-B6CF-6EC1B98DB0ED}"/>
          </ac:spMkLst>
        </pc:spChg>
      </pc:sldChg>
      <pc:sldChg chg="del">
        <pc:chgData name="Votana Srey" userId="13bee0a8-d205-440d-95f7-48959fdcf002" providerId="ADAL" clId="{0D44528D-A8F9-4657-BEDD-69DBD6A2190B}" dt="2023-02-02T18:07:49.350" v="2022" actId="47"/>
        <pc:sldMkLst>
          <pc:docMk/>
          <pc:sldMk cId="119905572" sldId="2147470112"/>
        </pc:sldMkLst>
      </pc:sldChg>
      <pc:sldChg chg="del">
        <pc:chgData name="Votana Srey" userId="13bee0a8-d205-440d-95f7-48959fdcf002" providerId="ADAL" clId="{0D44528D-A8F9-4657-BEDD-69DBD6A2190B}" dt="2023-02-02T18:07:49.652" v="2023" actId="47"/>
        <pc:sldMkLst>
          <pc:docMk/>
          <pc:sldMk cId="1242637693" sldId="2147470114"/>
        </pc:sldMkLst>
      </pc:sldChg>
      <pc:sldChg chg="del">
        <pc:chgData name="Votana Srey" userId="13bee0a8-d205-440d-95f7-48959fdcf002" providerId="ADAL" clId="{0D44528D-A8F9-4657-BEDD-69DBD6A2190B}" dt="2023-02-02T18:07:50.228" v="2024" actId="47"/>
        <pc:sldMkLst>
          <pc:docMk/>
          <pc:sldMk cId="1794843765" sldId="2147470115"/>
        </pc:sldMkLst>
      </pc:sldChg>
      <pc:sldChg chg="del">
        <pc:chgData name="Votana Srey" userId="13bee0a8-d205-440d-95f7-48959fdcf002" providerId="ADAL" clId="{0D44528D-A8F9-4657-BEDD-69DBD6A2190B}" dt="2023-02-02T18:07:50.634" v="2025" actId="47"/>
        <pc:sldMkLst>
          <pc:docMk/>
          <pc:sldMk cId="1251731655" sldId="2147470116"/>
        </pc:sldMkLst>
      </pc:sldChg>
      <pc:sldChg chg="del">
        <pc:chgData name="Votana Srey" userId="13bee0a8-d205-440d-95f7-48959fdcf002" providerId="ADAL" clId="{0D44528D-A8F9-4657-BEDD-69DBD6A2190B}" dt="2023-02-02T18:07:50.993" v="2026" actId="47"/>
        <pc:sldMkLst>
          <pc:docMk/>
          <pc:sldMk cId="1856795201" sldId="2147470117"/>
        </pc:sldMkLst>
      </pc:sldChg>
      <pc:sldChg chg="del">
        <pc:chgData name="Votana Srey" userId="13bee0a8-d205-440d-95f7-48959fdcf002" providerId="ADAL" clId="{0D44528D-A8F9-4657-BEDD-69DBD6A2190B}" dt="2023-02-02T18:07:51.537" v="2027" actId="47"/>
        <pc:sldMkLst>
          <pc:docMk/>
          <pc:sldMk cId="1878782500" sldId="2147470118"/>
        </pc:sldMkLst>
      </pc:sldChg>
      <pc:sldChg chg="del">
        <pc:chgData name="Votana Srey" userId="13bee0a8-d205-440d-95f7-48959fdcf002" providerId="ADAL" clId="{0D44528D-A8F9-4657-BEDD-69DBD6A2190B}" dt="2023-02-02T18:07:52.235" v="2028" actId="47"/>
        <pc:sldMkLst>
          <pc:docMk/>
          <pc:sldMk cId="1213199871" sldId="2147470119"/>
        </pc:sldMkLst>
      </pc:sldChg>
      <pc:sldChg chg="del">
        <pc:chgData name="Votana Srey" userId="13bee0a8-d205-440d-95f7-48959fdcf002" providerId="ADAL" clId="{0D44528D-A8F9-4657-BEDD-69DBD6A2190B}" dt="2023-02-02T18:07:52.911" v="2029" actId="47"/>
        <pc:sldMkLst>
          <pc:docMk/>
          <pc:sldMk cId="1479560957" sldId="2147470120"/>
        </pc:sldMkLst>
      </pc:sldChg>
      <pc:sldChg chg="del">
        <pc:chgData name="Votana Srey" userId="13bee0a8-d205-440d-95f7-48959fdcf002" providerId="ADAL" clId="{0D44528D-A8F9-4657-BEDD-69DBD6A2190B}" dt="2023-02-02T18:07:53.602" v="2030" actId="47"/>
        <pc:sldMkLst>
          <pc:docMk/>
          <pc:sldMk cId="2642522327" sldId="2147470121"/>
        </pc:sldMkLst>
      </pc:sldChg>
      <pc:sldChg chg="del">
        <pc:chgData name="Votana Srey" userId="13bee0a8-d205-440d-95f7-48959fdcf002" providerId="ADAL" clId="{0D44528D-A8F9-4657-BEDD-69DBD6A2190B}" dt="2023-02-02T18:07:54.203" v="2031" actId="47"/>
        <pc:sldMkLst>
          <pc:docMk/>
          <pc:sldMk cId="2689273559" sldId="2147470122"/>
        </pc:sldMkLst>
      </pc:sldChg>
      <pc:sldChg chg="del">
        <pc:chgData name="Votana Srey" userId="13bee0a8-d205-440d-95f7-48959fdcf002" providerId="ADAL" clId="{0D44528D-A8F9-4657-BEDD-69DBD6A2190B}" dt="2023-02-02T18:07:30.584" v="1997" actId="47"/>
        <pc:sldMkLst>
          <pc:docMk/>
          <pc:sldMk cId="2201393052" sldId="2147470125"/>
        </pc:sldMkLst>
      </pc:sldChg>
      <pc:sldChg chg="del">
        <pc:chgData name="Votana Srey" userId="13bee0a8-d205-440d-95f7-48959fdcf002" providerId="ADAL" clId="{0D44528D-A8F9-4657-BEDD-69DBD6A2190B}" dt="2023-02-02T18:07:31.266" v="1998" actId="47"/>
        <pc:sldMkLst>
          <pc:docMk/>
          <pc:sldMk cId="496132038" sldId="2147470126"/>
        </pc:sldMkLst>
      </pc:sldChg>
      <pc:sldChg chg="del">
        <pc:chgData name="Votana Srey" userId="13bee0a8-d205-440d-95f7-48959fdcf002" providerId="ADAL" clId="{0D44528D-A8F9-4657-BEDD-69DBD6A2190B}" dt="2023-02-02T18:07:32.345" v="2000" actId="47"/>
        <pc:sldMkLst>
          <pc:docMk/>
          <pc:sldMk cId="201456352" sldId="2147470127"/>
        </pc:sldMkLst>
      </pc:sldChg>
      <pc:sldChg chg="del">
        <pc:chgData name="Votana Srey" userId="13bee0a8-d205-440d-95f7-48959fdcf002" providerId="ADAL" clId="{0D44528D-A8F9-4657-BEDD-69DBD6A2190B}" dt="2023-02-02T18:07:31.751" v="1999" actId="47"/>
        <pc:sldMkLst>
          <pc:docMk/>
          <pc:sldMk cId="2368328289" sldId="2147470128"/>
        </pc:sldMkLst>
      </pc:sldChg>
      <pc:sldChg chg="add del">
        <pc:chgData name="Votana Srey" userId="13bee0a8-d205-440d-95f7-48959fdcf002" providerId="ADAL" clId="{0D44528D-A8F9-4657-BEDD-69DBD6A2190B}" dt="2023-02-02T18:07:23.877" v="1996" actId="47"/>
        <pc:sldMkLst>
          <pc:docMk/>
          <pc:sldMk cId="2082566771" sldId="2147470129"/>
        </pc:sldMkLst>
      </pc:sldChg>
      <pc:sldChg chg="addSp delSp modSp add mod modClrScheme chgLayout">
        <pc:chgData name="Votana Srey" userId="13bee0a8-d205-440d-95f7-48959fdcf002" providerId="ADAL" clId="{0D44528D-A8F9-4657-BEDD-69DBD6A2190B}" dt="2023-02-02T17:14:31.827" v="877" actId="1036"/>
        <pc:sldMkLst>
          <pc:docMk/>
          <pc:sldMk cId="2968204835" sldId="2147470130"/>
        </pc:sldMkLst>
        <pc:spChg chg="add mod ord">
          <ac:chgData name="Votana Srey" userId="13bee0a8-d205-440d-95f7-48959fdcf002" providerId="ADAL" clId="{0D44528D-A8F9-4657-BEDD-69DBD6A2190B}" dt="2023-02-02T17:14:31.827" v="877" actId="1036"/>
          <ac:spMkLst>
            <pc:docMk/>
            <pc:sldMk cId="2968204835" sldId="2147470130"/>
            <ac:spMk id="3" creationId="{E0BD5093-B7A6-3F5C-BE82-C39C446A96A8}"/>
          </ac:spMkLst>
        </pc:spChg>
        <pc:spChg chg="del mod ord">
          <ac:chgData name="Votana Srey" userId="13bee0a8-d205-440d-95f7-48959fdcf002" providerId="ADAL" clId="{0D44528D-A8F9-4657-BEDD-69DBD6A2190B}" dt="2023-02-02T17:09:51.771" v="757" actId="478"/>
          <ac:spMkLst>
            <pc:docMk/>
            <pc:sldMk cId="2968204835" sldId="2147470130"/>
            <ac:spMk id="4" creationId="{4AF8DB76-A1BB-53E6-60F7-6C2E10718A84}"/>
          </ac:spMkLst>
        </pc:spChg>
        <pc:spChg chg="del mod ord">
          <ac:chgData name="Votana Srey" userId="13bee0a8-d205-440d-95f7-48959fdcf002" providerId="ADAL" clId="{0D44528D-A8F9-4657-BEDD-69DBD6A2190B}" dt="2023-02-02T17:09:51.771" v="757" actId="478"/>
          <ac:spMkLst>
            <pc:docMk/>
            <pc:sldMk cId="2968204835" sldId="2147470130"/>
            <ac:spMk id="5" creationId="{E2A9A272-C378-770B-D57A-D67FA2F82F87}"/>
          </ac:spMkLst>
        </pc:spChg>
        <pc:spChg chg="add mod ord">
          <ac:chgData name="Votana Srey" userId="13bee0a8-d205-440d-95f7-48959fdcf002" providerId="ADAL" clId="{0D44528D-A8F9-4657-BEDD-69DBD6A2190B}" dt="2023-02-02T17:14:31.827" v="877" actId="1036"/>
          <ac:spMkLst>
            <pc:docMk/>
            <pc:sldMk cId="2968204835" sldId="2147470130"/>
            <ac:spMk id="6" creationId="{2C1688F7-79E1-74BF-1382-7D09241AFFDE}"/>
          </ac:spMkLst>
        </pc:spChg>
        <pc:picChg chg="add mod">
          <ac:chgData name="Votana Srey" userId="13bee0a8-d205-440d-95f7-48959fdcf002" providerId="ADAL" clId="{0D44528D-A8F9-4657-BEDD-69DBD6A2190B}" dt="2023-02-02T17:10:05.855" v="758"/>
          <ac:picMkLst>
            <pc:docMk/>
            <pc:sldMk cId="2968204835" sldId="2147470130"/>
            <ac:picMk id="2" creationId="{112747FD-1C4B-DB3E-BEF7-36730B567FB3}"/>
          </ac:picMkLst>
        </pc:picChg>
      </pc:sldChg>
      <pc:sldChg chg="addSp delSp modSp add mod modClrScheme chgLayout">
        <pc:chgData name="Votana Srey" userId="13bee0a8-d205-440d-95f7-48959fdcf002" providerId="ADAL" clId="{0D44528D-A8F9-4657-BEDD-69DBD6A2190B}" dt="2023-02-02T17:19:03.185" v="957" actId="1035"/>
        <pc:sldMkLst>
          <pc:docMk/>
          <pc:sldMk cId="3715923711" sldId="2147470131"/>
        </pc:sldMkLst>
        <pc:spChg chg="add mod">
          <ac:chgData name="Votana Srey" userId="13bee0a8-d205-440d-95f7-48959fdcf002" providerId="ADAL" clId="{0D44528D-A8F9-4657-BEDD-69DBD6A2190B}" dt="2023-02-02T17:17:04.171" v="907" actId="1076"/>
          <ac:spMkLst>
            <pc:docMk/>
            <pc:sldMk cId="3715923711" sldId="2147470131"/>
            <ac:spMk id="3" creationId="{8EB9F8E2-FCD7-9871-1428-25A84BE9AC58}"/>
          </ac:spMkLst>
        </pc:spChg>
        <pc:spChg chg="del mod ord">
          <ac:chgData name="Votana Srey" userId="13bee0a8-d205-440d-95f7-48959fdcf002" providerId="ADAL" clId="{0D44528D-A8F9-4657-BEDD-69DBD6A2190B}" dt="2023-02-02T17:16:28.972" v="886" actId="478"/>
          <ac:spMkLst>
            <pc:docMk/>
            <pc:sldMk cId="3715923711" sldId="2147470131"/>
            <ac:spMk id="4" creationId="{4AF8DB76-A1BB-53E6-60F7-6C2E10718A84}"/>
          </ac:spMkLst>
        </pc:spChg>
        <pc:spChg chg="del mod ord">
          <ac:chgData name="Votana Srey" userId="13bee0a8-d205-440d-95f7-48959fdcf002" providerId="ADAL" clId="{0D44528D-A8F9-4657-BEDD-69DBD6A2190B}" dt="2023-02-02T17:16:28.972" v="886" actId="478"/>
          <ac:spMkLst>
            <pc:docMk/>
            <pc:sldMk cId="3715923711" sldId="2147470131"/>
            <ac:spMk id="5" creationId="{E2A9A272-C378-770B-D57A-D67FA2F82F87}"/>
          </ac:spMkLst>
        </pc:spChg>
        <pc:spChg chg="add del">
          <ac:chgData name="Votana Srey" userId="13bee0a8-d205-440d-95f7-48959fdcf002" providerId="ADAL" clId="{0D44528D-A8F9-4657-BEDD-69DBD6A2190B}" dt="2023-02-02T17:17:28.897" v="909" actId="478"/>
          <ac:spMkLst>
            <pc:docMk/>
            <pc:sldMk cId="3715923711" sldId="2147470131"/>
            <ac:spMk id="7" creationId="{85377BFC-2EDC-4CBE-17AF-37AAC7AF2C1B}"/>
          </ac:spMkLst>
        </pc:spChg>
        <pc:spChg chg="add mod">
          <ac:chgData name="Votana Srey" userId="13bee0a8-d205-440d-95f7-48959fdcf002" providerId="ADAL" clId="{0D44528D-A8F9-4657-BEDD-69DBD6A2190B}" dt="2023-02-02T17:19:03.185" v="957" actId="1035"/>
          <ac:spMkLst>
            <pc:docMk/>
            <pc:sldMk cId="3715923711" sldId="2147470131"/>
            <ac:spMk id="9" creationId="{986D915E-055C-A50F-6EE2-5DB0D770D48A}"/>
          </ac:spMkLst>
        </pc:spChg>
        <pc:picChg chg="add mod">
          <ac:chgData name="Votana Srey" userId="13bee0a8-d205-440d-95f7-48959fdcf002" providerId="ADAL" clId="{0D44528D-A8F9-4657-BEDD-69DBD6A2190B}" dt="2023-02-02T17:16:25.775" v="885"/>
          <ac:picMkLst>
            <pc:docMk/>
            <pc:sldMk cId="3715923711" sldId="2147470131"/>
            <ac:picMk id="2" creationId="{1AA11E91-1F58-230D-B52B-BD98CBC684C2}"/>
          </ac:picMkLst>
        </pc:picChg>
      </pc:sldChg>
      <pc:sldChg chg="add del">
        <pc:chgData name="Votana Srey" userId="13bee0a8-d205-440d-95f7-48959fdcf002" providerId="ADAL" clId="{0D44528D-A8F9-4657-BEDD-69DBD6A2190B}" dt="2023-02-02T18:07:23.294" v="1995" actId="47"/>
        <pc:sldMkLst>
          <pc:docMk/>
          <pc:sldMk cId="3603388127" sldId="2147470132"/>
        </pc:sldMkLst>
      </pc:sldChg>
      <pc:sldChg chg="addSp delSp modSp add mod chgLayout">
        <pc:chgData name="Votana Srey" userId="13bee0a8-d205-440d-95f7-48959fdcf002" providerId="ADAL" clId="{0D44528D-A8F9-4657-BEDD-69DBD6A2190B}" dt="2023-02-03T02:07:04.472" v="2497" actId="208"/>
        <pc:sldMkLst>
          <pc:docMk/>
          <pc:sldMk cId="4156277494" sldId="2147470133"/>
        </pc:sldMkLst>
        <pc:spChg chg="add del mod ord">
          <ac:chgData name="Votana Srey" userId="13bee0a8-d205-440d-95f7-48959fdcf002" providerId="ADAL" clId="{0D44528D-A8F9-4657-BEDD-69DBD6A2190B}" dt="2023-02-02T17:25:37.651" v="1091" actId="700"/>
          <ac:spMkLst>
            <pc:docMk/>
            <pc:sldMk cId="4156277494" sldId="2147470133"/>
            <ac:spMk id="3" creationId="{E3458B57-3A50-59AC-982D-473C9C02E970}"/>
          </ac:spMkLst>
        </pc:spChg>
        <pc:spChg chg="add del mod ord">
          <ac:chgData name="Votana Srey" userId="13bee0a8-d205-440d-95f7-48959fdcf002" providerId="ADAL" clId="{0D44528D-A8F9-4657-BEDD-69DBD6A2190B}" dt="2023-02-02T17:25:37.651" v="1091" actId="700"/>
          <ac:spMkLst>
            <pc:docMk/>
            <pc:sldMk cId="4156277494" sldId="2147470133"/>
            <ac:spMk id="4" creationId="{3556EE42-BA94-0D87-F15D-2602103594BE}"/>
          </ac:spMkLst>
        </pc:spChg>
        <pc:spChg chg="add del mod ord">
          <ac:chgData name="Votana Srey" userId="13bee0a8-d205-440d-95f7-48959fdcf002" providerId="ADAL" clId="{0D44528D-A8F9-4657-BEDD-69DBD6A2190B}" dt="2023-02-02T17:25:37.651" v="1091" actId="700"/>
          <ac:spMkLst>
            <pc:docMk/>
            <pc:sldMk cId="4156277494" sldId="2147470133"/>
            <ac:spMk id="5" creationId="{F0E18EF5-205A-05E1-21B0-4BC15D55FFDD}"/>
          </ac:spMkLst>
        </pc:spChg>
        <pc:spChg chg="add del mod ord">
          <ac:chgData name="Votana Srey" userId="13bee0a8-d205-440d-95f7-48959fdcf002" providerId="ADAL" clId="{0D44528D-A8F9-4657-BEDD-69DBD6A2190B}" dt="2023-02-02T17:25:37.651" v="1091" actId="700"/>
          <ac:spMkLst>
            <pc:docMk/>
            <pc:sldMk cId="4156277494" sldId="2147470133"/>
            <ac:spMk id="6" creationId="{4B071460-3868-0F37-190C-C2B3D3B78E56}"/>
          </ac:spMkLst>
        </pc:spChg>
        <pc:spChg chg="add del mod ord">
          <ac:chgData name="Votana Srey" userId="13bee0a8-d205-440d-95f7-48959fdcf002" providerId="ADAL" clId="{0D44528D-A8F9-4657-BEDD-69DBD6A2190B}" dt="2023-02-02T17:25:37.651" v="1091" actId="700"/>
          <ac:spMkLst>
            <pc:docMk/>
            <pc:sldMk cId="4156277494" sldId="2147470133"/>
            <ac:spMk id="7" creationId="{6D2CF73C-AA5D-E7E7-6391-6128F2A7086A}"/>
          </ac:spMkLst>
        </pc:spChg>
        <pc:spChg chg="add del mod ord">
          <ac:chgData name="Votana Srey" userId="13bee0a8-d205-440d-95f7-48959fdcf002" providerId="ADAL" clId="{0D44528D-A8F9-4657-BEDD-69DBD6A2190B}" dt="2023-02-02T17:25:37.651" v="1091" actId="700"/>
          <ac:spMkLst>
            <pc:docMk/>
            <pc:sldMk cId="4156277494" sldId="2147470133"/>
            <ac:spMk id="8" creationId="{62B79BCB-EF02-4E7F-88D0-71BD77AFFA6A}"/>
          </ac:spMkLst>
        </pc:spChg>
        <pc:spChg chg="add del mod ord">
          <ac:chgData name="Votana Srey" userId="13bee0a8-d205-440d-95f7-48959fdcf002" providerId="ADAL" clId="{0D44528D-A8F9-4657-BEDD-69DBD6A2190B}" dt="2023-02-02T17:25:37.651" v="1091" actId="700"/>
          <ac:spMkLst>
            <pc:docMk/>
            <pc:sldMk cId="4156277494" sldId="2147470133"/>
            <ac:spMk id="9" creationId="{63F73909-C154-94CC-AC1E-7228903214C3}"/>
          </ac:spMkLst>
        </pc:spChg>
        <pc:spChg chg="add del mod ord">
          <ac:chgData name="Votana Srey" userId="13bee0a8-d205-440d-95f7-48959fdcf002" providerId="ADAL" clId="{0D44528D-A8F9-4657-BEDD-69DBD6A2190B}" dt="2023-02-02T17:25:37.651" v="1091" actId="700"/>
          <ac:spMkLst>
            <pc:docMk/>
            <pc:sldMk cId="4156277494" sldId="2147470133"/>
            <ac:spMk id="10" creationId="{BF84A884-AC7D-B9A4-B625-B4C81D534600}"/>
          </ac:spMkLst>
        </pc:spChg>
        <pc:spChg chg="add mod ord">
          <ac:chgData name="Votana Srey" userId="13bee0a8-d205-440d-95f7-48959fdcf002" providerId="ADAL" clId="{0D44528D-A8F9-4657-BEDD-69DBD6A2190B}" dt="2023-02-02T17:28:04.310" v="1112" actId="20577"/>
          <ac:spMkLst>
            <pc:docMk/>
            <pc:sldMk cId="4156277494" sldId="2147470133"/>
            <ac:spMk id="11" creationId="{DDD5BFE8-3778-D814-9005-F92647F6A38C}"/>
          </ac:spMkLst>
        </pc:spChg>
        <pc:spChg chg="add del mod ord">
          <ac:chgData name="Votana Srey" userId="13bee0a8-d205-440d-95f7-48959fdcf002" providerId="ADAL" clId="{0D44528D-A8F9-4657-BEDD-69DBD6A2190B}" dt="2023-02-02T17:43:21.971" v="1211" actId="478"/>
          <ac:spMkLst>
            <pc:docMk/>
            <pc:sldMk cId="4156277494" sldId="2147470133"/>
            <ac:spMk id="12" creationId="{1027804F-EB37-0D37-F45C-77E2C8EF7F84}"/>
          </ac:spMkLst>
        </pc:spChg>
        <pc:spChg chg="add mod ord">
          <ac:chgData name="Votana Srey" userId="13bee0a8-d205-440d-95f7-48959fdcf002" providerId="ADAL" clId="{0D44528D-A8F9-4657-BEDD-69DBD6A2190B}" dt="2023-02-02T17:28:50.187" v="1116" actId="6559"/>
          <ac:spMkLst>
            <pc:docMk/>
            <pc:sldMk cId="4156277494" sldId="2147470133"/>
            <ac:spMk id="13" creationId="{F6763D6D-0720-BC62-D344-87AE915D47CA}"/>
          </ac:spMkLst>
        </pc:spChg>
        <pc:spChg chg="add del mod ord">
          <ac:chgData name="Votana Srey" userId="13bee0a8-d205-440d-95f7-48959fdcf002" providerId="ADAL" clId="{0D44528D-A8F9-4657-BEDD-69DBD6A2190B}" dt="2023-02-02T17:43:24.669" v="1212" actId="478"/>
          <ac:spMkLst>
            <pc:docMk/>
            <pc:sldMk cId="4156277494" sldId="2147470133"/>
            <ac:spMk id="14" creationId="{457FD6DE-DE9D-A962-7C9F-146E717E1CD2}"/>
          </ac:spMkLst>
        </pc:spChg>
        <pc:spChg chg="add mod ord">
          <ac:chgData name="Votana Srey" userId="13bee0a8-d205-440d-95f7-48959fdcf002" providerId="ADAL" clId="{0D44528D-A8F9-4657-BEDD-69DBD6A2190B}" dt="2023-02-02T17:48:33.291" v="1432" actId="1037"/>
          <ac:spMkLst>
            <pc:docMk/>
            <pc:sldMk cId="4156277494" sldId="2147470133"/>
            <ac:spMk id="15" creationId="{92F587AD-A3EE-D917-53B7-17C8A5BDD5BF}"/>
          </ac:spMkLst>
        </pc:spChg>
        <pc:spChg chg="add del mod ord">
          <ac:chgData name="Votana Srey" userId="13bee0a8-d205-440d-95f7-48959fdcf002" providerId="ADAL" clId="{0D44528D-A8F9-4657-BEDD-69DBD6A2190B}" dt="2023-02-02T17:29:26.794" v="1118" actId="478"/>
          <ac:spMkLst>
            <pc:docMk/>
            <pc:sldMk cId="4156277494" sldId="2147470133"/>
            <ac:spMk id="16" creationId="{50F8F400-3A78-8915-21A0-6463435F27D2}"/>
          </ac:spMkLst>
        </pc:spChg>
        <pc:spChg chg="add mod ord">
          <ac:chgData name="Votana Srey" userId="13bee0a8-d205-440d-95f7-48959fdcf002" providerId="ADAL" clId="{0D44528D-A8F9-4657-BEDD-69DBD6A2190B}" dt="2023-02-02T17:48:33.291" v="1432" actId="1037"/>
          <ac:spMkLst>
            <pc:docMk/>
            <pc:sldMk cId="4156277494" sldId="2147470133"/>
            <ac:spMk id="17" creationId="{87573F92-9524-3F57-CDBA-C653E60852AB}"/>
          </ac:spMkLst>
        </pc:spChg>
        <pc:spChg chg="add del mod ord">
          <ac:chgData name="Votana Srey" userId="13bee0a8-d205-440d-95f7-48959fdcf002" providerId="ADAL" clId="{0D44528D-A8F9-4657-BEDD-69DBD6A2190B}" dt="2023-02-02T17:29:26.794" v="1118" actId="478"/>
          <ac:spMkLst>
            <pc:docMk/>
            <pc:sldMk cId="4156277494" sldId="2147470133"/>
            <ac:spMk id="18" creationId="{8B0942B1-5AA9-DDA3-BE40-6A23D371E86C}"/>
          </ac:spMkLst>
        </pc:spChg>
        <pc:spChg chg="add del mod">
          <ac:chgData name="Votana Srey" userId="13bee0a8-d205-440d-95f7-48959fdcf002" providerId="ADAL" clId="{0D44528D-A8F9-4657-BEDD-69DBD6A2190B}" dt="2023-02-02T17:43:43.604" v="1239" actId="478"/>
          <ac:spMkLst>
            <pc:docMk/>
            <pc:sldMk cId="4156277494" sldId="2147470133"/>
            <ac:spMk id="19" creationId="{49E32B8D-F74B-B2A5-3406-3EC84844F713}"/>
          </ac:spMkLst>
        </pc:spChg>
        <pc:spChg chg="add mod">
          <ac:chgData name="Votana Srey" userId="13bee0a8-d205-440d-95f7-48959fdcf002" providerId="ADAL" clId="{0D44528D-A8F9-4657-BEDD-69DBD6A2190B}" dt="2023-02-03T02:07:04.472" v="2497" actId="208"/>
          <ac:spMkLst>
            <pc:docMk/>
            <pc:sldMk cId="4156277494" sldId="2147470133"/>
            <ac:spMk id="21" creationId="{E0064FD7-EFE6-C6D5-7CFB-B42CB9518282}"/>
          </ac:spMkLst>
        </pc:spChg>
        <pc:spChg chg="add mod">
          <ac:chgData name="Votana Srey" userId="13bee0a8-d205-440d-95f7-48959fdcf002" providerId="ADAL" clId="{0D44528D-A8F9-4657-BEDD-69DBD6A2190B}" dt="2023-02-03T02:07:04.472" v="2497" actId="208"/>
          <ac:spMkLst>
            <pc:docMk/>
            <pc:sldMk cId="4156277494" sldId="2147470133"/>
            <ac:spMk id="22" creationId="{4AFF26B3-8221-45AE-D0D3-2981F0010D3A}"/>
          </ac:spMkLst>
        </pc:spChg>
        <pc:spChg chg="add mod">
          <ac:chgData name="Votana Srey" userId="13bee0a8-d205-440d-95f7-48959fdcf002" providerId="ADAL" clId="{0D44528D-A8F9-4657-BEDD-69DBD6A2190B}" dt="2023-02-03T02:07:04.472" v="2497" actId="208"/>
          <ac:spMkLst>
            <pc:docMk/>
            <pc:sldMk cId="4156277494" sldId="2147470133"/>
            <ac:spMk id="23" creationId="{8BF27654-9ADF-1F7E-E4A9-76331A9F5C5B}"/>
          </ac:spMkLst>
        </pc:spChg>
        <pc:spChg chg="add del mod">
          <ac:chgData name="Votana Srey" userId="13bee0a8-d205-440d-95f7-48959fdcf002" providerId="ADAL" clId="{0D44528D-A8F9-4657-BEDD-69DBD6A2190B}" dt="2023-02-02T17:48:23.386" v="1366" actId="478"/>
          <ac:spMkLst>
            <pc:docMk/>
            <pc:sldMk cId="4156277494" sldId="2147470133"/>
            <ac:spMk id="24" creationId="{60ECE708-6301-AE2A-2DFF-10A1513D7332}"/>
          </ac:spMkLst>
        </pc:spChg>
        <pc:spChg chg="add del mod">
          <ac:chgData name="Votana Srey" userId="13bee0a8-d205-440d-95f7-48959fdcf002" providerId="ADAL" clId="{0D44528D-A8F9-4657-BEDD-69DBD6A2190B}" dt="2023-02-02T17:43:45.696" v="1240" actId="478"/>
          <ac:spMkLst>
            <pc:docMk/>
            <pc:sldMk cId="4156277494" sldId="2147470133"/>
            <ac:spMk id="26" creationId="{B3A0BD50-D730-C78F-0181-4A54B2110DDA}"/>
          </ac:spMkLst>
        </pc:spChg>
        <pc:spChg chg="add del mod">
          <ac:chgData name="Votana Srey" userId="13bee0a8-d205-440d-95f7-48959fdcf002" providerId="ADAL" clId="{0D44528D-A8F9-4657-BEDD-69DBD6A2190B}" dt="2023-02-02T17:43:43.604" v="1239" actId="478"/>
          <ac:spMkLst>
            <pc:docMk/>
            <pc:sldMk cId="4156277494" sldId="2147470133"/>
            <ac:spMk id="28" creationId="{31852D5C-88EF-DC60-6E8D-CAA9345156FF}"/>
          </ac:spMkLst>
        </pc:spChg>
        <pc:spChg chg="add del mod">
          <ac:chgData name="Votana Srey" userId="13bee0a8-d205-440d-95f7-48959fdcf002" providerId="ADAL" clId="{0D44528D-A8F9-4657-BEDD-69DBD6A2190B}" dt="2023-02-02T17:43:43.604" v="1239" actId="478"/>
          <ac:spMkLst>
            <pc:docMk/>
            <pc:sldMk cId="4156277494" sldId="2147470133"/>
            <ac:spMk id="30" creationId="{282BFCF2-A23A-E7A7-E5DA-A9789945FCD7}"/>
          </ac:spMkLst>
        </pc:spChg>
        <pc:spChg chg="add del mod">
          <ac:chgData name="Votana Srey" userId="13bee0a8-d205-440d-95f7-48959fdcf002" providerId="ADAL" clId="{0D44528D-A8F9-4657-BEDD-69DBD6A2190B}" dt="2023-02-02T17:43:35.400" v="1236" actId="478"/>
          <ac:spMkLst>
            <pc:docMk/>
            <pc:sldMk cId="4156277494" sldId="2147470133"/>
            <ac:spMk id="31" creationId="{28B11880-A2F4-F0C9-DF5E-CB5A29629008}"/>
          </ac:spMkLst>
        </pc:spChg>
        <pc:spChg chg="add del mod">
          <ac:chgData name="Votana Srey" userId="13bee0a8-d205-440d-95f7-48959fdcf002" providerId="ADAL" clId="{0D44528D-A8F9-4657-BEDD-69DBD6A2190B}" dt="2023-02-02T17:43:37.190" v="1237" actId="478"/>
          <ac:spMkLst>
            <pc:docMk/>
            <pc:sldMk cId="4156277494" sldId="2147470133"/>
            <ac:spMk id="32" creationId="{4AF966B3-3D28-550A-277F-8BDBC0440DEE}"/>
          </ac:spMkLst>
        </pc:spChg>
        <pc:spChg chg="add del mod">
          <ac:chgData name="Votana Srey" userId="13bee0a8-d205-440d-95f7-48959fdcf002" providerId="ADAL" clId="{0D44528D-A8F9-4657-BEDD-69DBD6A2190B}" dt="2023-02-02T17:43:38.934" v="1238" actId="478"/>
          <ac:spMkLst>
            <pc:docMk/>
            <pc:sldMk cId="4156277494" sldId="2147470133"/>
            <ac:spMk id="33" creationId="{A1EFA73C-B4D4-0B0F-8205-8242546B0FD5}"/>
          </ac:spMkLst>
        </pc:spChg>
        <pc:spChg chg="add mod">
          <ac:chgData name="Votana Srey" userId="13bee0a8-d205-440d-95f7-48959fdcf002" providerId="ADAL" clId="{0D44528D-A8F9-4657-BEDD-69DBD6A2190B}" dt="2023-02-02T17:48:33.291" v="1432" actId="1037"/>
          <ac:spMkLst>
            <pc:docMk/>
            <pc:sldMk cId="4156277494" sldId="2147470133"/>
            <ac:spMk id="34" creationId="{4678DD2C-27D2-03AA-EDCF-02C5740F1239}"/>
          </ac:spMkLst>
        </pc:spChg>
        <pc:spChg chg="add mod">
          <ac:chgData name="Votana Srey" userId="13bee0a8-d205-440d-95f7-48959fdcf002" providerId="ADAL" clId="{0D44528D-A8F9-4657-BEDD-69DBD6A2190B}" dt="2023-02-02T17:48:33.291" v="1432" actId="1037"/>
          <ac:spMkLst>
            <pc:docMk/>
            <pc:sldMk cId="4156277494" sldId="2147470133"/>
            <ac:spMk id="36" creationId="{DB351719-2A63-84D4-2BBD-48DA6D8FB123}"/>
          </ac:spMkLst>
        </pc:spChg>
        <pc:spChg chg="add mod">
          <ac:chgData name="Votana Srey" userId="13bee0a8-d205-440d-95f7-48959fdcf002" providerId="ADAL" clId="{0D44528D-A8F9-4657-BEDD-69DBD6A2190B}" dt="2023-02-02T17:54:33.007" v="1679" actId="20577"/>
          <ac:spMkLst>
            <pc:docMk/>
            <pc:sldMk cId="4156277494" sldId="2147470133"/>
            <ac:spMk id="37" creationId="{B4FB2C8D-1041-51AC-9197-8A1E6A46655E}"/>
          </ac:spMkLst>
        </pc:spChg>
        <pc:spChg chg="add mod">
          <ac:chgData name="Votana Srey" userId="13bee0a8-d205-440d-95f7-48959fdcf002" providerId="ADAL" clId="{0D44528D-A8F9-4657-BEDD-69DBD6A2190B}" dt="2023-02-02T17:48:33.291" v="1432" actId="1037"/>
          <ac:spMkLst>
            <pc:docMk/>
            <pc:sldMk cId="4156277494" sldId="2147470133"/>
            <ac:spMk id="38" creationId="{822BF3C1-71E2-4508-E20B-711FF5BD3BD4}"/>
          </ac:spMkLst>
        </pc:spChg>
        <pc:spChg chg="add mod">
          <ac:chgData name="Votana Srey" userId="13bee0a8-d205-440d-95f7-48959fdcf002" providerId="ADAL" clId="{0D44528D-A8F9-4657-BEDD-69DBD6A2190B}" dt="2023-02-03T02:07:04.472" v="2497" actId="208"/>
          <ac:spMkLst>
            <pc:docMk/>
            <pc:sldMk cId="4156277494" sldId="2147470133"/>
            <ac:spMk id="39" creationId="{8C01A950-23CA-E9B5-3397-801B8BDD1B32}"/>
          </ac:spMkLst>
        </pc:spChg>
        <pc:spChg chg="add mod">
          <ac:chgData name="Votana Srey" userId="13bee0a8-d205-440d-95f7-48959fdcf002" providerId="ADAL" clId="{0D44528D-A8F9-4657-BEDD-69DBD6A2190B}" dt="2023-02-02T17:54:00.535" v="1660" actId="20577"/>
          <ac:spMkLst>
            <pc:docMk/>
            <pc:sldMk cId="4156277494" sldId="2147470133"/>
            <ac:spMk id="40" creationId="{21F152BA-95F2-6562-0F0E-196312539742}"/>
          </ac:spMkLst>
        </pc:spChg>
        <pc:spChg chg="add mod">
          <ac:chgData name="Votana Srey" userId="13bee0a8-d205-440d-95f7-48959fdcf002" providerId="ADAL" clId="{0D44528D-A8F9-4657-BEDD-69DBD6A2190B}" dt="2023-02-02T17:54:09.057" v="1661"/>
          <ac:spMkLst>
            <pc:docMk/>
            <pc:sldMk cId="4156277494" sldId="2147470133"/>
            <ac:spMk id="41" creationId="{021C03E6-1B72-4F11-48D9-E8F525A33C73}"/>
          </ac:spMkLst>
        </pc:spChg>
        <pc:picChg chg="del">
          <ac:chgData name="Votana Srey" userId="13bee0a8-d205-440d-95f7-48959fdcf002" providerId="ADAL" clId="{0D44528D-A8F9-4657-BEDD-69DBD6A2190B}" dt="2023-02-02T17:20:13.221" v="974" actId="478"/>
          <ac:picMkLst>
            <pc:docMk/>
            <pc:sldMk cId="4156277494" sldId="2147470133"/>
            <ac:picMk id="2" creationId="{1AA11E91-1F58-230D-B52B-BD98CBC684C2}"/>
          </ac:picMkLst>
        </pc:picChg>
        <pc:picChg chg="add mod">
          <ac:chgData name="Votana Srey" userId="13bee0a8-d205-440d-95f7-48959fdcf002" providerId="ADAL" clId="{0D44528D-A8F9-4657-BEDD-69DBD6A2190B}" dt="2023-02-02T17:54:16.890" v="1663" actId="1076"/>
          <ac:picMkLst>
            <pc:docMk/>
            <pc:sldMk cId="4156277494" sldId="2147470133"/>
            <ac:picMk id="20" creationId="{C2E287C0-9C17-A633-7762-5AAA37B8A3CF}"/>
          </ac:picMkLst>
        </pc:picChg>
        <pc:picChg chg="add del mod">
          <ac:chgData name="Votana Srey" userId="13bee0a8-d205-440d-95f7-48959fdcf002" providerId="ADAL" clId="{0D44528D-A8F9-4657-BEDD-69DBD6A2190B}" dt="2023-02-02T17:48:23.386" v="1366" actId="478"/>
          <ac:picMkLst>
            <pc:docMk/>
            <pc:sldMk cId="4156277494" sldId="2147470133"/>
            <ac:picMk id="25" creationId="{EF44F47D-C36D-93BA-DC23-A5DFB01D4FDA}"/>
          </ac:picMkLst>
        </pc:picChg>
        <pc:picChg chg="add mod">
          <ac:chgData name="Votana Srey" userId="13bee0a8-d205-440d-95f7-48959fdcf002" providerId="ADAL" clId="{0D44528D-A8F9-4657-BEDD-69DBD6A2190B}" dt="2023-02-02T17:48:33.291" v="1432" actId="1037"/>
          <ac:picMkLst>
            <pc:docMk/>
            <pc:sldMk cId="4156277494" sldId="2147470133"/>
            <ac:picMk id="27" creationId="{00ABE27D-082E-3EFA-316F-0DF7D0BE5687}"/>
          </ac:picMkLst>
        </pc:picChg>
        <pc:picChg chg="add mod">
          <ac:chgData name="Votana Srey" userId="13bee0a8-d205-440d-95f7-48959fdcf002" providerId="ADAL" clId="{0D44528D-A8F9-4657-BEDD-69DBD6A2190B}" dt="2023-02-02T17:54:23.959" v="1665" actId="1076"/>
          <ac:picMkLst>
            <pc:docMk/>
            <pc:sldMk cId="4156277494" sldId="2147470133"/>
            <ac:picMk id="29" creationId="{C9F31FDD-045C-4C57-9C84-D9D27A286CDE}"/>
          </ac:picMkLst>
        </pc:picChg>
        <pc:picChg chg="add mod">
          <ac:chgData name="Votana Srey" userId="13bee0a8-d205-440d-95f7-48959fdcf002" providerId="ADAL" clId="{0D44528D-A8F9-4657-BEDD-69DBD6A2190B}" dt="2023-02-02T17:53:26.610" v="1619" actId="1076"/>
          <ac:picMkLst>
            <pc:docMk/>
            <pc:sldMk cId="4156277494" sldId="2147470133"/>
            <ac:picMk id="8194" creationId="{213FAA6A-27C7-59A0-28AE-B2742FAF7D24}"/>
          </ac:picMkLst>
        </pc:picChg>
      </pc:sldChg>
      <pc:sldChg chg="addSp delSp modSp add del mod modClrScheme chgLayout">
        <pc:chgData name="Votana Srey" userId="13bee0a8-d205-440d-95f7-48959fdcf002" providerId="ADAL" clId="{0D44528D-A8F9-4657-BEDD-69DBD6A2190B}" dt="2023-02-03T02:13:32.995" v="2585" actId="47"/>
        <pc:sldMkLst>
          <pc:docMk/>
          <pc:sldMk cId="1089263418" sldId="2147470134"/>
        </pc:sldMkLst>
        <pc:spChg chg="add mod">
          <ac:chgData name="Votana Srey" userId="13bee0a8-d205-440d-95f7-48959fdcf002" providerId="ADAL" clId="{0D44528D-A8F9-4657-BEDD-69DBD6A2190B}" dt="2023-02-02T18:05:44.520" v="1957" actId="20577"/>
          <ac:spMkLst>
            <pc:docMk/>
            <pc:sldMk cId="1089263418" sldId="2147470134"/>
            <ac:spMk id="3" creationId="{0BBB6212-FEDB-26FF-1FBE-7EC9AA2E869C}"/>
          </ac:spMkLst>
        </pc:spChg>
        <pc:spChg chg="add mod">
          <ac:chgData name="Votana Srey" userId="13bee0a8-d205-440d-95f7-48959fdcf002" providerId="ADAL" clId="{0D44528D-A8F9-4657-BEDD-69DBD6A2190B}" dt="2023-02-02T18:07:08.562" v="1992" actId="1036"/>
          <ac:spMkLst>
            <pc:docMk/>
            <pc:sldMk cId="1089263418" sldId="2147470134"/>
            <ac:spMk id="6" creationId="{7D9143D1-B59F-2767-5C5A-38D08ECB1CB4}"/>
          </ac:spMkLst>
        </pc:spChg>
        <pc:graphicFrameChg chg="add del mod modGraphic">
          <ac:chgData name="Votana Srey" userId="13bee0a8-d205-440d-95f7-48959fdcf002" providerId="ADAL" clId="{0D44528D-A8F9-4657-BEDD-69DBD6A2190B}" dt="2023-02-03T02:09:43.265" v="2535"/>
          <ac:graphicFrameMkLst>
            <pc:docMk/>
            <pc:sldMk cId="1089263418" sldId="2147470134"/>
            <ac:graphicFrameMk id="7" creationId="{BCD07741-F779-52AC-4268-1C6EAA9C0A32}"/>
          </ac:graphicFrameMkLst>
        </pc:graphicFrameChg>
        <pc:picChg chg="mod">
          <ac:chgData name="Votana Srey" userId="13bee0a8-d205-440d-95f7-48959fdcf002" providerId="ADAL" clId="{0D44528D-A8F9-4657-BEDD-69DBD6A2190B}" dt="2023-02-02T18:10:40.834" v="2111" actId="1076"/>
          <ac:picMkLst>
            <pc:docMk/>
            <pc:sldMk cId="1089263418" sldId="2147470134"/>
            <ac:picMk id="2" creationId="{1AA11E91-1F58-230D-B52B-BD98CBC684C2}"/>
          </ac:picMkLst>
        </pc:picChg>
        <pc:picChg chg="add del mod">
          <ac:chgData name="Votana Srey" userId="13bee0a8-d205-440d-95f7-48959fdcf002" providerId="ADAL" clId="{0D44528D-A8F9-4657-BEDD-69DBD6A2190B}" dt="2023-02-03T02:09:47.889" v="2537" actId="14100"/>
          <ac:picMkLst>
            <pc:docMk/>
            <pc:sldMk cId="1089263418" sldId="2147470134"/>
            <ac:picMk id="5" creationId="{8206B95A-0F7C-363F-271E-4B1FE9678087}"/>
          </ac:picMkLst>
        </pc:picChg>
      </pc:sldChg>
      <pc:sldChg chg="add del">
        <pc:chgData name="Votana Srey" userId="13bee0a8-d205-440d-95f7-48959fdcf002" providerId="ADAL" clId="{0D44528D-A8F9-4657-BEDD-69DBD6A2190B}" dt="2023-02-02T18:07:22.507" v="1993" actId="47"/>
        <pc:sldMkLst>
          <pc:docMk/>
          <pc:sldMk cId="3542610172" sldId="2147470135"/>
        </pc:sldMkLst>
      </pc:sldChg>
      <pc:sldChg chg="add del">
        <pc:chgData name="Votana Srey" userId="13bee0a8-d205-440d-95f7-48959fdcf002" providerId="ADAL" clId="{0D44528D-A8F9-4657-BEDD-69DBD6A2190B}" dt="2023-02-02T18:07:22.694" v="1994" actId="47"/>
        <pc:sldMkLst>
          <pc:docMk/>
          <pc:sldMk cId="2621008377" sldId="2147470136"/>
        </pc:sldMkLst>
      </pc:sldChg>
      <pc:sldChg chg="addSp delSp modSp add del mod chgLayout">
        <pc:chgData name="Votana Srey" userId="13bee0a8-d205-440d-95f7-48959fdcf002" providerId="ADAL" clId="{0D44528D-A8F9-4657-BEDD-69DBD6A2190B}" dt="2023-02-02T17:19:58.221" v="972"/>
        <pc:sldMkLst>
          <pc:docMk/>
          <pc:sldMk cId="178893437" sldId="2147470137"/>
        </pc:sldMkLst>
        <pc:spChg chg="mod">
          <ac:chgData name="Votana Srey" userId="13bee0a8-d205-440d-95f7-48959fdcf002" providerId="ADAL" clId="{0D44528D-A8F9-4657-BEDD-69DBD6A2190B}" dt="2023-02-02T17:19:57.143" v="971" actId="20577"/>
          <ac:spMkLst>
            <pc:docMk/>
            <pc:sldMk cId="178893437" sldId="2147470137"/>
            <ac:spMk id="3" creationId="{8EB9F8E2-FCD7-9871-1428-25A84BE9AC58}"/>
          </ac:spMkLst>
        </pc:spChg>
        <pc:spChg chg="add del mod ord">
          <ac:chgData name="Votana Srey" userId="13bee0a8-d205-440d-95f7-48959fdcf002" providerId="ADAL" clId="{0D44528D-A8F9-4657-BEDD-69DBD6A2190B}" dt="2023-02-02T17:19:56.371" v="970" actId="700"/>
          <ac:spMkLst>
            <pc:docMk/>
            <pc:sldMk cId="178893437" sldId="2147470137"/>
            <ac:spMk id="4" creationId="{1D902E0C-CF81-2538-BAC6-E3664650C98C}"/>
          </ac:spMkLst>
        </pc:spChg>
        <pc:spChg chg="add del mod ord">
          <ac:chgData name="Votana Srey" userId="13bee0a8-d205-440d-95f7-48959fdcf002" providerId="ADAL" clId="{0D44528D-A8F9-4657-BEDD-69DBD6A2190B}" dt="2023-02-02T17:19:56.371" v="970" actId="700"/>
          <ac:spMkLst>
            <pc:docMk/>
            <pc:sldMk cId="178893437" sldId="2147470137"/>
            <ac:spMk id="5" creationId="{AE1F586E-DA08-71CB-04C5-F151125599A2}"/>
          </ac:spMkLst>
        </pc:spChg>
        <pc:spChg chg="add del mod ord">
          <ac:chgData name="Votana Srey" userId="13bee0a8-d205-440d-95f7-48959fdcf002" providerId="ADAL" clId="{0D44528D-A8F9-4657-BEDD-69DBD6A2190B}" dt="2023-02-02T17:19:56.371" v="970" actId="700"/>
          <ac:spMkLst>
            <pc:docMk/>
            <pc:sldMk cId="178893437" sldId="2147470137"/>
            <ac:spMk id="6" creationId="{F1BB252C-AA66-F3D0-0895-9DC33C0A83DA}"/>
          </ac:spMkLst>
        </pc:spChg>
        <pc:spChg chg="add del mod ord">
          <ac:chgData name="Votana Srey" userId="13bee0a8-d205-440d-95f7-48959fdcf002" providerId="ADAL" clId="{0D44528D-A8F9-4657-BEDD-69DBD6A2190B}" dt="2023-02-02T17:19:56.371" v="970" actId="700"/>
          <ac:spMkLst>
            <pc:docMk/>
            <pc:sldMk cId="178893437" sldId="2147470137"/>
            <ac:spMk id="7" creationId="{7DB107DA-C1CB-0EA6-FA5D-F27A522D9CDF}"/>
          </ac:spMkLst>
        </pc:spChg>
        <pc:spChg chg="add del mod ord">
          <ac:chgData name="Votana Srey" userId="13bee0a8-d205-440d-95f7-48959fdcf002" providerId="ADAL" clId="{0D44528D-A8F9-4657-BEDD-69DBD6A2190B}" dt="2023-02-02T17:19:56.371" v="970" actId="700"/>
          <ac:spMkLst>
            <pc:docMk/>
            <pc:sldMk cId="178893437" sldId="2147470137"/>
            <ac:spMk id="8" creationId="{890AC984-2CDD-F29F-1E18-616FBA706FC3}"/>
          </ac:spMkLst>
        </pc:spChg>
        <pc:spChg chg="add del mod ord">
          <ac:chgData name="Votana Srey" userId="13bee0a8-d205-440d-95f7-48959fdcf002" providerId="ADAL" clId="{0D44528D-A8F9-4657-BEDD-69DBD6A2190B}" dt="2023-02-02T17:19:56.371" v="970" actId="700"/>
          <ac:spMkLst>
            <pc:docMk/>
            <pc:sldMk cId="178893437" sldId="2147470137"/>
            <ac:spMk id="10" creationId="{56726C67-B92C-46D9-F5F4-7BF6D3D6853F}"/>
          </ac:spMkLst>
        </pc:spChg>
        <pc:spChg chg="add del mod ord">
          <ac:chgData name="Votana Srey" userId="13bee0a8-d205-440d-95f7-48959fdcf002" providerId="ADAL" clId="{0D44528D-A8F9-4657-BEDD-69DBD6A2190B}" dt="2023-02-02T17:19:56.371" v="970" actId="700"/>
          <ac:spMkLst>
            <pc:docMk/>
            <pc:sldMk cId="178893437" sldId="2147470137"/>
            <ac:spMk id="11" creationId="{22730D84-F37E-BD6E-C29D-BE9C0755F41D}"/>
          </ac:spMkLst>
        </pc:spChg>
        <pc:spChg chg="add del mod ord">
          <ac:chgData name="Votana Srey" userId="13bee0a8-d205-440d-95f7-48959fdcf002" providerId="ADAL" clId="{0D44528D-A8F9-4657-BEDD-69DBD6A2190B}" dt="2023-02-02T17:19:56.371" v="970" actId="700"/>
          <ac:spMkLst>
            <pc:docMk/>
            <pc:sldMk cId="178893437" sldId="2147470137"/>
            <ac:spMk id="12" creationId="{3884D04B-04EE-3BC2-A587-F1B57E9BC2DC}"/>
          </ac:spMkLst>
        </pc:spChg>
      </pc:sldChg>
      <pc:sldChg chg="modSp add mod">
        <pc:chgData name="Votana Srey" userId="13bee0a8-d205-440d-95f7-48959fdcf002" providerId="ADAL" clId="{0D44528D-A8F9-4657-BEDD-69DBD6A2190B}" dt="2023-02-02T17:24:07.549" v="1090" actId="255"/>
        <pc:sldMkLst>
          <pc:docMk/>
          <pc:sldMk cId="2567581689" sldId="2147470137"/>
        </pc:sldMkLst>
        <pc:spChg chg="mod">
          <ac:chgData name="Votana Srey" userId="13bee0a8-d205-440d-95f7-48959fdcf002" providerId="ADAL" clId="{0D44528D-A8F9-4657-BEDD-69DBD6A2190B}" dt="2023-02-02T17:21:47.162" v="1004" actId="20577"/>
          <ac:spMkLst>
            <pc:docMk/>
            <pc:sldMk cId="2567581689" sldId="2147470137"/>
            <ac:spMk id="3" creationId="{8EB9F8E2-FCD7-9871-1428-25A84BE9AC58}"/>
          </ac:spMkLst>
        </pc:spChg>
        <pc:spChg chg="mod">
          <ac:chgData name="Votana Srey" userId="13bee0a8-d205-440d-95f7-48959fdcf002" providerId="ADAL" clId="{0D44528D-A8F9-4657-BEDD-69DBD6A2190B}" dt="2023-02-02T17:24:07.549" v="1090" actId="255"/>
          <ac:spMkLst>
            <pc:docMk/>
            <pc:sldMk cId="2567581689" sldId="2147470137"/>
            <ac:spMk id="9" creationId="{986D915E-055C-A50F-6EE2-5DB0D770D48A}"/>
          </ac:spMkLst>
        </pc:spChg>
      </pc:sldChg>
      <pc:sldChg chg="addSp delSp modSp add mod">
        <pc:chgData name="Votana Srey" userId="13bee0a8-d205-440d-95f7-48959fdcf002" providerId="ADAL" clId="{0D44528D-A8F9-4657-BEDD-69DBD6A2190B}" dt="2023-02-02T17:36:54.967" v="1133" actId="22"/>
        <pc:sldMkLst>
          <pc:docMk/>
          <pc:sldMk cId="2050275579" sldId="2147470138"/>
        </pc:sldMkLst>
        <pc:graphicFrameChg chg="add del modGraphic">
          <ac:chgData name="Votana Srey" userId="13bee0a8-d205-440d-95f7-48959fdcf002" providerId="ADAL" clId="{0D44528D-A8F9-4657-BEDD-69DBD6A2190B}" dt="2023-02-02T17:36:28.827" v="1131" actId="478"/>
          <ac:graphicFrameMkLst>
            <pc:docMk/>
            <pc:sldMk cId="2050275579" sldId="2147470138"/>
            <ac:graphicFrameMk id="4" creationId="{A9499F72-51C9-0D35-70AC-438F869E86AD}"/>
          </ac:graphicFrameMkLst>
        </pc:graphicFrameChg>
        <pc:picChg chg="add">
          <ac:chgData name="Votana Srey" userId="13bee0a8-d205-440d-95f7-48959fdcf002" providerId="ADAL" clId="{0D44528D-A8F9-4657-BEDD-69DBD6A2190B}" dt="2023-02-02T17:36:54.967" v="1133" actId="22"/>
          <ac:picMkLst>
            <pc:docMk/>
            <pc:sldMk cId="2050275579" sldId="2147470138"/>
            <ac:picMk id="6" creationId="{639B95B2-3F16-3C2E-ABB6-59A391584417}"/>
          </ac:picMkLst>
        </pc:picChg>
        <pc:picChg chg="del">
          <ac:chgData name="Votana Srey" userId="13bee0a8-d205-440d-95f7-48959fdcf002" providerId="ADAL" clId="{0D44528D-A8F9-4657-BEDD-69DBD6A2190B}" dt="2023-02-02T17:36:30.020" v="1132" actId="478"/>
          <ac:picMkLst>
            <pc:docMk/>
            <pc:sldMk cId="2050275579" sldId="2147470138"/>
            <ac:picMk id="8" creationId="{8B124F51-E14E-DC8D-8100-E1E9FA48C86B}"/>
          </ac:picMkLst>
        </pc:picChg>
      </pc:sldChg>
      <pc:sldChg chg="add del">
        <pc:chgData name="Votana Srey" userId="13bee0a8-d205-440d-95f7-48959fdcf002" providerId="ADAL" clId="{0D44528D-A8F9-4657-BEDD-69DBD6A2190B}" dt="2023-02-02T18:07:41.840" v="2007" actId="47"/>
        <pc:sldMkLst>
          <pc:docMk/>
          <pc:sldMk cId="1354866925" sldId="2147470139"/>
        </pc:sldMkLst>
      </pc:sldChg>
      <pc:sldChg chg="delSp add del mod">
        <pc:chgData name="Votana Srey" userId="13bee0a8-d205-440d-95f7-48959fdcf002" providerId="ADAL" clId="{0D44528D-A8F9-4657-BEDD-69DBD6A2190B}" dt="2023-02-02T17:39:32.708" v="1138" actId="47"/>
        <pc:sldMkLst>
          <pc:docMk/>
          <pc:sldMk cId="1931692224" sldId="2147470139"/>
        </pc:sldMkLst>
        <pc:picChg chg="del">
          <ac:chgData name="Votana Srey" userId="13bee0a8-d205-440d-95f7-48959fdcf002" providerId="ADAL" clId="{0D44528D-A8F9-4657-BEDD-69DBD6A2190B}" dt="2023-02-02T17:39:10.329" v="1136" actId="478"/>
          <ac:picMkLst>
            <pc:docMk/>
            <pc:sldMk cId="1931692224" sldId="2147470139"/>
            <ac:picMk id="6" creationId="{639B95B2-3F16-3C2E-ABB6-59A391584417}"/>
          </ac:picMkLst>
        </pc:picChg>
      </pc:sldChg>
      <pc:sldChg chg="add del">
        <pc:chgData name="Votana Srey" userId="13bee0a8-d205-440d-95f7-48959fdcf002" providerId="ADAL" clId="{0D44528D-A8F9-4657-BEDD-69DBD6A2190B}" dt="2023-02-02T18:07:40.885" v="2006" actId="47"/>
        <pc:sldMkLst>
          <pc:docMk/>
          <pc:sldMk cId="1070707439" sldId="2147470140"/>
        </pc:sldMkLst>
      </pc:sldChg>
      <pc:sldChg chg="addSp delSp modSp add mod">
        <pc:chgData name="Votana Srey" userId="13bee0a8-d205-440d-95f7-48959fdcf002" providerId="ADAL" clId="{0D44528D-A8F9-4657-BEDD-69DBD6A2190B}" dt="2023-02-02T18:08:49.459" v="2042" actId="255"/>
        <pc:sldMkLst>
          <pc:docMk/>
          <pc:sldMk cId="3238348999" sldId="2147470141"/>
        </pc:sldMkLst>
        <pc:spChg chg="add del mod">
          <ac:chgData name="Votana Srey" userId="13bee0a8-d205-440d-95f7-48959fdcf002" providerId="ADAL" clId="{0D44528D-A8F9-4657-BEDD-69DBD6A2190B}" dt="2023-02-02T17:52:23.256" v="1614" actId="478"/>
          <ac:spMkLst>
            <pc:docMk/>
            <pc:sldMk cId="3238348999" sldId="2147470141"/>
            <ac:spMk id="3" creationId="{65F2347B-46C0-124C-E37C-5E641239E3C5}"/>
          </ac:spMkLst>
        </pc:spChg>
        <pc:spChg chg="add del mod">
          <ac:chgData name="Votana Srey" userId="13bee0a8-d205-440d-95f7-48959fdcf002" providerId="ADAL" clId="{0D44528D-A8F9-4657-BEDD-69DBD6A2190B}" dt="2023-02-02T17:52:25.255" v="1615" actId="478"/>
          <ac:spMkLst>
            <pc:docMk/>
            <pc:sldMk cId="3238348999" sldId="2147470141"/>
            <ac:spMk id="5" creationId="{E4A6A35B-4077-3B51-41C7-B2417415511C}"/>
          </ac:spMkLst>
        </pc:spChg>
        <pc:spChg chg="add mod">
          <ac:chgData name="Votana Srey" userId="13bee0a8-d205-440d-95f7-48959fdcf002" providerId="ADAL" clId="{0D44528D-A8F9-4657-BEDD-69DBD6A2190B}" dt="2023-02-02T18:08:30.439" v="2039" actId="255"/>
          <ac:spMkLst>
            <pc:docMk/>
            <pc:sldMk cId="3238348999" sldId="2147470141"/>
            <ac:spMk id="6" creationId="{1398CE7E-EB3D-301B-24B0-1C05716B952E}"/>
          </ac:spMkLst>
        </pc:spChg>
        <pc:spChg chg="add mod">
          <ac:chgData name="Votana Srey" userId="13bee0a8-d205-440d-95f7-48959fdcf002" providerId="ADAL" clId="{0D44528D-A8F9-4657-BEDD-69DBD6A2190B}" dt="2023-02-02T18:08:36.022" v="2040" actId="255"/>
          <ac:spMkLst>
            <pc:docMk/>
            <pc:sldMk cId="3238348999" sldId="2147470141"/>
            <ac:spMk id="7" creationId="{21FC4BF8-79D3-71C8-25B1-7B87EC978807}"/>
          </ac:spMkLst>
        </pc:spChg>
        <pc:spChg chg="add mod">
          <ac:chgData name="Votana Srey" userId="13bee0a8-d205-440d-95f7-48959fdcf002" providerId="ADAL" clId="{0D44528D-A8F9-4657-BEDD-69DBD6A2190B}" dt="2023-02-02T18:08:43.505" v="2041" actId="255"/>
          <ac:spMkLst>
            <pc:docMk/>
            <pc:sldMk cId="3238348999" sldId="2147470141"/>
            <ac:spMk id="8" creationId="{DB71C851-B854-D581-541A-E6B490509DE1}"/>
          </ac:spMkLst>
        </pc:spChg>
        <pc:spChg chg="add mod">
          <ac:chgData name="Votana Srey" userId="13bee0a8-d205-440d-95f7-48959fdcf002" providerId="ADAL" clId="{0D44528D-A8F9-4657-BEDD-69DBD6A2190B}" dt="2023-02-02T18:08:49.459" v="2042" actId="255"/>
          <ac:spMkLst>
            <pc:docMk/>
            <pc:sldMk cId="3238348999" sldId="2147470141"/>
            <ac:spMk id="9" creationId="{39B662FB-B3DB-5EA1-8567-45C08466AD99}"/>
          </ac:spMkLst>
        </pc:spChg>
        <pc:spChg chg="add mod">
          <ac:chgData name="Votana Srey" userId="13bee0a8-d205-440d-95f7-48959fdcf002" providerId="ADAL" clId="{0D44528D-A8F9-4657-BEDD-69DBD6A2190B}" dt="2023-02-02T17:58:00.775" v="1690" actId="14100"/>
          <ac:spMkLst>
            <pc:docMk/>
            <pc:sldMk cId="3238348999" sldId="2147470141"/>
            <ac:spMk id="10" creationId="{16771129-442F-9D98-546B-9B44ECFE0DE5}"/>
          </ac:spMkLst>
        </pc:spChg>
        <pc:spChg chg="mod">
          <ac:chgData name="Votana Srey" userId="13bee0a8-d205-440d-95f7-48959fdcf002" providerId="ADAL" clId="{0D44528D-A8F9-4657-BEDD-69DBD6A2190B}" dt="2023-02-02T17:51:51.042" v="1527" actId="20577"/>
          <ac:spMkLst>
            <pc:docMk/>
            <pc:sldMk cId="3238348999" sldId="2147470141"/>
            <ac:spMk id="11" creationId="{DDD5BFE8-3778-D814-9005-F92647F6A38C}"/>
          </ac:spMkLst>
        </pc:spChg>
        <pc:spChg chg="add del mod">
          <ac:chgData name="Votana Srey" userId="13bee0a8-d205-440d-95f7-48959fdcf002" providerId="ADAL" clId="{0D44528D-A8F9-4657-BEDD-69DBD6A2190B}" dt="2023-02-02T17:58:12.853" v="1693" actId="478"/>
          <ac:spMkLst>
            <pc:docMk/>
            <pc:sldMk cId="3238348999" sldId="2147470141"/>
            <ac:spMk id="12" creationId="{86F21AC6-6880-B9CF-FC32-C7E0F682EBD8}"/>
          </ac:spMkLst>
        </pc:spChg>
        <pc:spChg chg="mod">
          <ac:chgData name="Votana Srey" userId="13bee0a8-d205-440d-95f7-48959fdcf002" providerId="ADAL" clId="{0D44528D-A8F9-4657-BEDD-69DBD6A2190B}" dt="2023-02-02T17:52:14.680" v="1612" actId="20577"/>
          <ac:spMkLst>
            <pc:docMk/>
            <pc:sldMk cId="3238348999" sldId="2147470141"/>
            <ac:spMk id="13" creationId="{F6763D6D-0720-BC62-D344-87AE915D47CA}"/>
          </ac:spMkLst>
        </pc:spChg>
        <pc:spChg chg="add del mod">
          <ac:chgData name="Votana Srey" userId="13bee0a8-d205-440d-95f7-48959fdcf002" providerId="ADAL" clId="{0D44528D-A8F9-4657-BEDD-69DBD6A2190B}" dt="2023-02-02T17:58:54.289" v="1701" actId="478"/>
          <ac:spMkLst>
            <pc:docMk/>
            <pc:sldMk cId="3238348999" sldId="2147470141"/>
            <ac:spMk id="14" creationId="{802A31C7-A841-996E-A822-EA3B3A32B149}"/>
          </ac:spMkLst>
        </pc:spChg>
        <pc:spChg chg="del">
          <ac:chgData name="Votana Srey" userId="13bee0a8-d205-440d-95f7-48959fdcf002" providerId="ADAL" clId="{0D44528D-A8F9-4657-BEDD-69DBD6A2190B}" dt="2023-02-02T17:52:20.280" v="1613" actId="478"/>
          <ac:spMkLst>
            <pc:docMk/>
            <pc:sldMk cId="3238348999" sldId="2147470141"/>
            <ac:spMk id="15" creationId="{92F587AD-A3EE-D917-53B7-17C8A5BDD5BF}"/>
          </ac:spMkLst>
        </pc:spChg>
        <pc:spChg chg="add mod">
          <ac:chgData name="Votana Srey" userId="13bee0a8-d205-440d-95f7-48959fdcf002" providerId="ADAL" clId="{0D44528D-A8F9-4657-BEDD-69DBD6A2190B}" dt="2023-02-02T17:59:56.755" v="1740" actId="20577"/>
          <ac:spMkLst>
            <pc:docMk/>
            <pc:sldMk cId="3238348999" sldId="2147470141"/>
            <ac:spMk id="16" creationId="{F5860FF2-12E6-018B-86C9-C89E30283220}"/>
          </ac:spMkLst>
        </pc:spChg>
        <pc:spChg chg="del">
          <ac:chgData name="Votana Srey" userId="13bee0a8-d205-440d-95f7-48959fdcf002" providerId="ADAL" clId="{0D44528D-A8F9-4657-BEDD-69DBD6A2190B}" dt="2023-02-02T17:52:20.280" v="1613" actId="478"/>
          <ac:spMkLst>
            <pc:docMk/>
            <pc:sldMk cId="3238348999" sldId="2147470141"/>
            <ac:spMk id="17" creationId="{87573F92-9524-3F57-CDBA-C653E60852AB}"/>
          </ac:spMkLst>
        </pc:spChg>
        <pc:spChg chg="add mod">
          <ac:chgData name="Votana Srey" userId="13bee0a8-d205-440d-95f7-48959fdcf002" providerId="ADAL" clId="{0D44528D-A8F9-4657-BEDD-69DBD6A2190B}" dt="2023-02-02T17:58:40.629" v="1697" actId="1076"/>
          <ac:spMkLst>
            <pc:docMk/>
            <pc:sldMk cId="3238348999" sldId="2147470141"/>
            <ac:spMk id="18" creationId="{F3A69B58-BAC1-47DB-1E83-799EAA15D2AF}"/>
          </ac:spMkLst>
        </pc:spChg>
        <pc:spChg chg="add mod">
          <ac:chgData name="Votana Srey" userId="13bee0a8-d205-440d-95f7-48959fdcf002" providerId="ADAL" clId="{0D44528D-A8F9-4657-BEDD-69DBD6A2190B}" dt="2023-02-02T17:58:30.946" v="1695" actId="1076"/>
          <ac:spMkLst>
            <pc:docMk/>
            <pc:sldMk cId="3238348999" sldId="2147470141"/>
            <ac:spMk id="19" creationId="{1EC0BF99-92C9-2DFC-9F76-05484E2C25B4}"/>
          </ac:spMkLst>
        </pc:spChg>
        <pc:spChg chg="del">
          <ac:chgData name="Votana Srey" userId="13bee0a8-d205-440d-95f7-48959fdcf002" providerId="ADAL" clId="{0D44528D-A8F9-4657-BEDD-69DBD6A2190B}" dt="2023-02-02T17:52:20.280" v="1613" actId="478"/>
          <ac:spMkLst>
            <pc:docMk/>
            <pc:sldMk cId="3238348999" sldId="2147470141"/>
            <ac:spMk id="21" creationId="{E0064FD7-EFE6-C6D5-7CFB-B42CB9518282}"/>
          </ac:spMkLst>
        </pc:spChg>
        <pc:spChg chg="del">
          <ac:chgData name="Votana Srey" userId="13bee0a8-d205-440d-95f7-48959fdcf002" providerId="ADAL" clId="{0D44528D-A8F9-4657-BEDD-69DBD6A2190B}" dt="2023-02-02T17:52:20.280" v="1613" actId="478"/>
          <ac:spMkLst>
            <pc:docMk/>
            <pc:sldMk cId="3238348999" sldId="2147470141"/>
            <ac:spMk id="22" creationId="{4AFF26B3-8221-45AE-D0D3-2981F0010D3A}"/>
          </ac:spMkLst>
        </pc:spChg>
        <pc:spChg chg="del">
          <ac:chgData name="Votana Srey" userId="13bee0a8-d205-440d-95f7-48959fdcf002" providerId="ADAL" clId="{0D44528D-A8F9-4657-BEDD-69DBD6A2190B}" dt="2023-02-02T17:52:20.280" v="1613" actId="478"/>
          <ac:spMkLst>
            <pc:docMk/>
            <pc:sldMk cId="3238348999" sldId="2147470141"/>
            <ac:spMk id="23" creationId="{8BF27654-9ADF-1F7E-E4A9-76331A9F5C5B}"/>
          </ac:spMkLst>
        </pc:spChg>
        <pc:spChg chg="add mod">
          <ac:chgData name="Votana Srey" userId="13bee0a8-d205-440d-95f7-48959fdcf002" providerId="ADAL" clId="{0D44528D-A8F9-4657-BEDD-69DBD6A2190B}" dt="2023-02-02T17:59:22.957" v="1724" actId="1037"/>
          <ac:spMkLst>
            <pc:docMk/>
            <pc:sldMk cId="3238348999" sldId="2147470141"/>
            <ac:spMk id="24" creationId="{707922F5-E9DC-80AA-11E7-871F9A6275D6}"/>
          </ac:spMkLst>
        </pc:spChg>
        <pc:spChg chg="add del mod">
          <ac:chgData name="Votana Srey" userId="13bee0a8-d205-440d-95f7-48959fdcf002" providerId="ADAL" clId="{0D44528D-A8F9-4657-BEDD-69DBD6A2190B}" dt="2023-02-02T18:00:32.782" v="1744" actId="478"/>
          <ac:spMkLst>
            <pc:docMk/>
            <pc:sldMk cId="3238348999" sldId="2147470141"/>
            <ac:spMk id="25" creationId="{96BE1ADB-1B70-1C46-9F45-C10905D04538}"/>
          </ac:spMkLst>
        </pc:spChg>
        <pc:spChg chg="del">
          <ac:chgData name="Votana Srey" userId="13bee0a8-d205-440d-95f7-48959fdcf002" providerId="ADAL" clId="{0D44528D-A8F9-4657-BEDD-69DBD6A2190B}" dt="2023-02-02T17:52:20.280" v="1613" actId="478"/>
          <ac:spMkLst>
            <pc:docMk/>
            <pc:sldMk cId="3238348999" sldId="2147470141"/>
            <ac:spMk id="34" creationId="{4678DD2C-27D2-03AA-EDCF-02C5740F1239}"/>
          </ac:spMkLst>
        </pc:spChg>
        <pc:spChg chg="del">
          <ac:chgData name="Votana Srey" userId="13bee0a8-d205-440d-95f7-48959fdcf002" providerId="ADAL" clId="{0D44528D-A8F9-4657-BEDD-69DBD6A2190B}" dt="2023-02-02T17:52:20.280" v="1613" actId="478"/>
          <ac:spMkLst>
            <pc:docMk/>
            <pc:sldMk cId="3238348999" sldId="2147470141"/>
            <ac:spMk id="36" creationId="{DB351719-2A63-84D4-2BBD-48DA6D8FB123}"/>
          </ac:spMkLst>
        </pc:spChg>
        <pc:spChg chg="del">
          <ac:chgData name="Votana Srey" userId="13bee0a8-d205-440d-95f7-48959fdcf002" providerId="ADAL" clId="{0D44528D-A8F9-4657-BEDD-69DBD6A2190B}" dt="2023-02-02T17:52:20.280" v="1613" actId="478"/>
          <ac:spMkLst>
            <pc:docMk/>
            <pc:sldMk cId="3238348999" sldId="2147470141"/>
            <ac:spMk id="37" creationId="{B4FB2C8D-1041-51AC-9197-8A1E6A46655E}"/>
          </ac:spMkLst>
        </pc:spChg>
        <pc:spChg chg="del">
          <ac:chgData name="Votana Srey" userId="13bee0a8-d205-440d-95f7-48959fdcf002" providerId="ADAL" clId="{0D44528D-A8F9-4657-BEDD-69DBD6A2190B}" dt="2023-02-02T17:52:20.280" v="1613" actId="478"/>
          <ac:spMkLst>
            <pc:docMk/>
            <pc:sldMk cId="3238348999" sldId="2147470141"/>
            <ac:spMk id="38" creationId="{822BF3C1-71E2-4508-E20B-711FF5BD3BD4}"/>
          </ac:spMkLst>
        </pc:spChg>
        <pc:picChg chg="del">
          <ac:chgData name="Votana Srey" userId="13bee0a8-d205-440d-95f7-48959fdcf002" providerId="ADAL" clId="{0D44528D-A8F9-4657-BEDD-69DBD6A2190B}" dt="2023-02-02T17:52:20.280" v="1613" actId="478"/>
          <ac:picMkLst>
            <pc:docMk/>
            <pc:sldMk cId="3238348999" sldId="2147470141"/>
            <ac:picMk id="20" creationId="{C2E287C0-9C17-A633-7762-5AAA37B8A3CF}"/>
          </ac:picMkLst>
        </pc:picChg>
        <pc:picChg chg="del">
          <ac:chgData name="Votana Srey" userId="13bee0a8-d205-440d-95f7-48959fdcf002" providerId="ADAL" clId="{0D44528D-A8F9-4657-BEDD-69DBD6A2190B}" dt="2023-02-02T17:52:20.280" v="1613" actId="478"/>
          <ac:picMkLst>
            <pc:docMk/>
            <pc:sldMk cId="3238348999" sldId="2147470141"/>
            <ac:picMk id="27" creationId="{00ABE27D-082E-3EFA-316F-0DF7D0BE5687}"/>
          </ac:picMkLst>
        </pc:picChg>
        <pc:picChg chg="del">
          <ac:chgData name="Votana Srey" userId="13bee0a8-d205-440d-95f7-48959fdcf002" providerId="ADAL" clId="{0D44528D-A8F9-4657-BEDD-69DBD6A2190B}" dt="2023-02-02T17:52:20.280" v="1613" actId="478"/>
          <ac:picMkLst>
            <pc:docMk/>
            <pc:sldMk cId="3238348999" sldId="2147470141"/>
            <ac:picMk id="29" creationId="{C9F31FDD-045C-4C57-9C84-D9D27A286CDE}"/>
          </ac:picMkLst>
        </pc:picChg>
      </pc:sldChg>
      <pc:sldChg chg="addSp delSp modSp add mod ord modClrScheme chgLayout">
        <pc:chgData name="Votana Srey" userId="13bee0a8-d205-440d-95f7-48959fdcf002" providerId="ADAL" clId="{0D44528D-A8F9-4657-BEDD-69DBD6A2190B}" dt="2023-02-17T17:34:15.615" v="4115"/>
        <pc:sldMkLst>
          <pc:docMk/>
          <pc:sldMk cId="2627524761" sldId="2147470142"/>
        </pc:sldMkLst>
        <pc:spChg chg="add del mod">
          <ac:chgData name="Votana Srey" userId="13bee0a8-d205-440d-95f7-48959fdcf002" providerId="ADAL" clId="{0D44528D-A8F9-4657-BEDD-69DBD6A2190B}" dt="2023-02-17T17:34:15.615" v="4115"/>
          <ac:spMkLst>
            <pc:docMk/>
            <pc:sldMk cId="2627524761" sldId="2147470142"/>
            <ac:spMk id="2" creationId="{B6D603B2-06C8-49C7-9915-8EA360BA8B17}"/>
          </ac:spMkLst>
        </pc:spChg>
        <pc:spChg chg="add del mod">
          <ac:chgData name="Votana Srey" userId="13bee0a8-d205-440d-95f7-48959fdcf002" providerId="ADAL" clId="{0D44528D-A8F9-4657-BEDD-69DBD6A2190B}" dt="2023-02-02T18:09:49.237" v="2099" actId="478"/>
          <ac:spMkLst>
            <pc:docMk/>
            <pc:sldMk cId="2627524761" sldId="2147470142"/>
            <ac:spMk id="3" creationId="{89FF8BC4-C1FB-BF98-0C4A-C35E9581C31C}"/>
          </ac:spMkLst>
        </pc:spChg>
        <pc:spChg chg="mod ord">
          <ac:chgData name="Votana Srey" userId="13bee0a8-d205-440d-95f7-48959fdcf002" providerId="ADAL" clId="{0D44528D-A8F9-4657-BEDD-69DBD6A2190B}" dt="2023-02-02T18:10:16.017" v="2108" actId="20577"/>
          <ac:spMkLst>
            <pc:docMk/>
            <pc:sldMk cId="2627524761" sldId="2147470142"/>
            <ac:spMk id="4" creationId="{00000000-0000-0000-0000-000000000000}"/>
          </ac:spMkLst>
        </pc:spChg>
        <pc:spChg chg="del mod ord">
          <ac:chgData name="Votana Srey" userId="13bee0a8-d205-440d-95f7-48959fdcf002" providerId="ADAL" clId="{0D44528D-A8F9-4657-BEDD-69DBD6A2190B}" dt="2023-02-02T18:09:47.172" v="2098" actId="478"/>
          <ac:spMkLst>
            <pc:docMk/>
            <pc:sldMk cId="2627524761" sldId="2147470142"/>
            <ac:spMk id="5" creationId="{00000000-0000-0000-0000-000000000000}"/>
          </ac:spMkLst>
        </pc:spChg>
        <pc:spChg chg="add del mod">
          <ac:chgData name="Votana Srey" userId="13bee0a8-d205-440d-95f7-48959fdcf002" providerId="ADAL" clId="{0D44528D-A8F9-4657-BEDD-69DBD6A2190B}" dt="2023-02-02T18:09:57.353" v="2101" actId="26606"/>
          <ac:spMkLst>
            <pc:docMk/>
            <pc:sldMk cId="2627524761" sldId="2147470142"/>
            <ac:spMk id="9" creationId="{F52A7ED1-7A9B-1BC6-F6A2-C170850AE751}"/>
          </ac:spMkLst>
        </pc:spChg>
        <pc:spChg chg="add del mod">
          <ac:chgData name="Votana Srey" userId="13bee0a8-d205-440d-95f7-48959fdcf002" providerId="ADAL" clId="{0D44528D-A8F9-4657-BEDD-69DBD6A2190B}" dt="2023-02-02T18:09:57.353" v="2101" actId="26606"/>
          <ac:spMkLst>
            <pc:docMk/>
            <pc:sldMk cId="2627524761" sldId="2147470142"/>
            <ac:spMk id="11" creationId="{F9E35189-765E-763D-9971-6860D8E90ADA}"/>
          </ac:spMkLst>
        </pc:spChg>
        <pc:spChg chg="add del mod">
          <ac:chgData name="Votana Srey" userId="13bee0a8-d205-440d-95f7-48959fdcf002" providerId="ADAL" clId="{0D44528D-A8F9-4657-BEDD-69DBD6A2190B}" dt="2023-02-02T18:10:02.319" v="2103" actId="26606"/>
          <ac:spMkLst>
            <pc:docMk/>
            <pc:sldMk cId="2627524761" sldId="2147470142"/>
            <ac:spMk id="13" creationId="{2E49CEB9-7312-DB96-9D39-865144286670}"/>
          </ac:spMkLst>
        </pc:spChg>
        <pc:spChg chg="add del mod">
          <ac:chgData name="Votana Srey" userId="13bee0a8-d205-440d-95f7-48959fdcf002" providerId="ADAL" clId="{0D44528D-A8F9-4657-BEDD-69DBD6A2190B}" dt="2023-02-02T18:10:06.357" v="2105" actId="26606"/>
          <ac:spMkLst>
            <pc:docMk/>
            <pc:sldMk cId="2627524761" sldId="2147470142"/>
            <ac:spMk id="15" creationId="{599E42A2-C65E-0D8E-A998-94F640BDAA28}"/>
          </ac:spMkLst>
        </pc:spChg>
        <pc:spChg chg="add del mod">
          <ac:chgData name="Votana Srey" userId="13bee0a8-d205-440d-95f7-48959fdcf002" providerId="ADAL" clId="{0D44528D-A8F9-4657-BEDD-69DBD6A2190B}" dt="2023-02-02T18:10:06.357" v="2105" actId="26606"/>
          <ac:spMkLst>
            <pc:docMk/>
            <pc:sldMk cId="2627524761" sldId="2147470142"/>
            <ac:spMk id="16" creationId="{2D1CDBCA-87B3-568D-0FBD-74CBAC5E72FA}"/>
          </ac:spMkLst>
        </pc:spChg>
        <pc:spChg chg="add del mod">
          <ac:chgData name="Votana Srey" userId="13bee0a8-d205-440d-95f7-48959fdcf002" providerId="ADAL" clId="{0D44528D-A8F9-4657-BEDD-69DBD6A2190B}" dt="2023-02-02T18:10:09.691" v="2107" actId="26606"/>
          <ac:spMkLst>
            <pc:docMk/>
            <pc:sldMk cId="2627524761" sldId="2147470142"/>
            <ac:spMk id="18" creationId="{786B1713-2595-709C-8BE1-067BCE162C02}"/>
          </ac:spMkLst>
        </pc:spChg>
        <pc:spChg chg="add del mod">
          <ac:chgData name="Votana Srey" userId="13bee0a8-d205-440d-95f7-48959fdcf002" providerId="ADAL" clId="{0D44528D-A8F9-4657-BEDD-69DBD6A2190B}" dt="2023-02-02T18:10:09.691" v="2107" actId="26606"/>
          <ac:spMkLst>
            <pc:docMk/>
            <pc:sldMk cId="2627524761" sldId="2147470142"/>
            <ac:spMk id="19" creationId="{4DB8FB38-BDB3-ECC2-3144-33F1237DA177}"/>
          </ac:spMkLst>
        </pc:spChg>
        <pc:spChg chg="add del mod">
          <ac:chgData name="Votana Srey" userId="13bee0a8-d205-440d-95f7-48959fdcf002" providerId="ADAL" clId="{0D44528D-A8F9-4657-BEDD-69DBD6A2190B}" dt="2023-02-02T18:10:09.691" v="2107" actId="26606"/>
          <ac:spMkLst>
            <pc:docMk/>
            <pc:sldMk cId="2627524761" sldId="2147470142"/>
            <ac:spMk id="20" creationId="{E994DC28-EA90-E79A-D650-E220A7AA30F1}"/>
          </ac:spMkLst>
        </pc:spChg>
        <pc:picChg chg="add mod">
          <ac:chgData name="Votana Srey" userId="13bee0a8-d205-440d-95f7-48959fdcf002" providerId="ADAL" clId="{0D44528D-A8F9-4657-BEDD-69DBD6A2190B}" dt="2023-02-02T18:10:29.970" v="2109"/>
          <ac:picMkLst>
            <pc:docMk/>
            <pc:sldMk cId="2627524761" sldId="2147470142"/>
            <ac:picMk id="6" creationId="{06816A11-B553-7C7F-B5F0-CA96B1760D6E}"/>
          </ac:picMkLst>
        </pc:picChg>
      </pc:sldChg>
      <pc:sldChg chg="add">
        <pc:chgData name="Votana Srey" userId="13bee0a8-d205-440d-95f7-48959fdcf002" providerId="ADAL" clId="{0D44528D-A8F9-4657-BEDD-69DBD6A2190B}" dt="2023-02-02T18:11:04.640" v="2114"/>
        <pc:sldMkLst>
          <pc:docMk/>
          <pc:sldMk cId="3451065741" sldId="2147470143"/>
        </pc:sldMkLst>
      </pc:sldChg>
      <pc:sldChg chg="add del">
        <pc:chgData name="Votana Srey" userId="13bee0a8-d205-440d-95f7-48959fdcf002" providerId="ADAL" clId="{0D44528D-A8F9-4657-BEDD-69DBD6A2190B}" dt="2023-02-02T18:10:58.869" v="2113" actId="47"/>
        <pc:sldMkLst>
          <pc:docMk/>
          <pc:sldMk cId="3987894273" sldId="2147470143"/>
        </pc:sldMkLst>
      </pc:sldChg>
      <pc:sldChg chg="addSp delSp modSp add mod modClrScheme chgLayout">
        <pc:chgData name="Votana Srey" userId="13bee0a8-d205-440d-95f7-48959fdcf002" providerId="ADAL" clId="{0D44528D-A8F9-4657-BEDD-69DBD6A2190B}" dt="2023-02-03T08:13:17.259" v="2607" actId="20577"/>
        <pc:sldMkLst>
          <pc:docMk/>
          <pc:sldMk cId="4060749190" sldId="2147470144"/>
        </pc:sldMkLst>
        <pc:spChg chg="add mod">
          <ac:chgData name="Votana Srey" userId="13bee0a8-d205-440d-95f7-48959fdcf002" providerId="ADAL" clId="{0D44528D-A8F9-4657-BEDD-69DBD6A2190B}" dt="2023-02-03T02:07:15.648" v="2498" actId="208"/>
          <ac:spMkLst>
            <pc:docMk/>
            <pc:sldMk cId="4060749190" sldId="2147470144"/>
            <ac:spMk id="3" creationId="{335BEFDB-8651-31D5-2004-E9F7FC3537F2}"/>
          </ac:spMkLst>
        </pc:spChg>
        <pc:spChg chg="mod ord">
          <ac:chgData name="Votana Srey" userId="13bee0a8-d205-440d-95f7-48959fdcf002" providerId="ADAL" clId="{0D44528D-A8F9-4657-BEDD-69DBD6A2190B}" dt="2023-02-02T18:11:44.035" v="2170" actId="700"/>
          <ac:spMkLst>
            <pc:docMk/>
            <pc:sldMk cId="4060749190" sldId="2147470144"/>
            <ac:spMk id="4" creationId="{00000000-0000-0000-0000-000000000000}"/>
          </ac:spMkLst>
        </pc:spChg>
        <pc:spChg chg="add mod">
          <ac:chgData name="Votana Srey" userId="13bee0a8-d205-440d-95f7-48959fdcf002" providerId="ADAL" clId="{0D44528D-A8F9-4657-BEDD-69DBD6A2190B}" dt="2023-02-03T02:02:57.436" v="2403" actId="1036"/>
          <ac:spMkLst>
            <pc:docMk/>
            <pc:sldMk cId="4060749190" sldId="2147470144"/>
            <ac:spMk id="5" creationId="{1B07DDEB-E088-2C5A-291B-C5CF96FA350B}"/>
          </ac:spMkLst>
        </pc:spChg>
        <pc:spChg chg="add mod">
          <ac:chgData name="Votana Srey" userId="13bee0a8-d205-440d-95f7-48959fdcf002" providerId="ADAL" clId="{0D44528D-A8F9-4657-BEDD-69DBD6A2190B}" dt="2023-02-03T02:02:57.436" v="2403" actId="1036"/>
          <ac:spMkLst>
            <pc:docMk/>
            <pc:sldMk cId="4060749190" sldId="2147470144"/>
            <ac:spMk id="6" creationId="{0119922D-B0F4-E304-52E0-B6221824900F}"/>
          </ac:spMkLst>
        </pc:spChg>
        <pc:spChg chg="add mod">
          <ac:chgData name="Votana Srey" userId="13bee0a8-d205-440d-95f7-48959fdcf002" providerId="ADAL" clId="{0D44528D-A8F9-4657-BEDD-69DBD6A2190B}" dt="2023-02-03T02:02:57.436" v="2403" actId="1036"/>
          <ac:spMkLst>
            <pc:docMk/>
            <pc:sldMk cId="4060749190" sldId="2147470144"/>
            <ac:spMk id="7" creationId="{43DA35DA-353E-785D-7386-17AADC0C59A6}"/>
          </ac:spMkLst>
        </pc:spChg>
        <pc:spChg chg="add mod">
          <ac:chgData name="Votana Srey" userId="13bee0a8-d205-440d-95f7-48959fdcf002" providerId="ADAL" clId="{0D44528D-A8F9-4657-BEDD-69DBD6A2190B}" dt="2023-02-03T02:07:15.648" v="2498" actId="208"/>
          <ac:spMkLst>
            <pc:docMk/>
            <pc:sldMk cId="4060749190" sldId="2147470144"/>
            <ac:spMk id="8" creationId="{29644A81-3EFE-EE42-BC48-C5C36FD8F3D4}"/>
          </ac:spMkLst>
        </pc:spChg>
        <pc:spChg chg="add mod">
          <ac:chgData name="Votana Srey" userId="13bee0a8-d205-440d-95f7-48959fdcf002" providerId="ADAL" clId="{0D44528D-A8F9-4657-BEDD-69DBD6A2190B}" dt="2023-02-03T02:03:16.691" v="2430" actId="1036"/>
          <ac:spMkLst>
            <pc:docMk/>
            <pc:sldMk cId="4060749190" sldId="2147470144"/>
            <ac:spMk id="12" creationId="{99BD9447-DAB0-8EF1-FF5F-C12B04B01AEE}"/>
          </ac:spMkLst>
        </pc:spChg>
        <pc:spChg chg="add mod">
          <ac:chgData name="Votana Srey" userId="13bee0a8-d205-440d-95f7-48959fdcf002" providerId="ADAL" clId="{0D44528D-A8F9-4657-BEDD-69DBD6A2190B}" dt="2023-02-03T02:03:16.691" v="2430" actId="1036"/>
          <ac:spMkLst>
            <pc:docMk/>
            <pc:sldMk cId="4060749190" sldId="2147470144"/>
            <ac:spMk id="13" creationId="{27056B03-7DDF-3FA7-C36B-7100F0D54E54}"/>
          </ac:spMkLst>
        </pc:spChg>
        <pc:spChg chg="add mod">
          <ac:chgData name="Votana Srey" userId="13bee0a8-d205-440d-95f7-48959fdcf002" providerId="ADAL" clId="{0D44528D-A8F9-4657-BEDD-69DBD6A2190B}" dt="2023-02-03T02:03:16.691" v="2430" actId="1036"/>
          <ac:spMkLst>
            <pc:docMk/>
            <pc:sldMk cId="4060749190" sldId="2147470144"/>
            <ac:spMk id="14" creationId="{23C41876-9080-7E76-6258-2D228739667B}"/>
          </ac:spMkLst>
        </pc:spChg>
        <pc:spChg chg="add mod">
          <ac:chgData name="Votana Srey" userId="13bee0a8-d205-440d-95f7-48959fdcf002" providerId="ADAL" clId="{0D44528D-A8F9-4657-BEDD-69DBD6A2190B}" dt="2023-02-03T02:03:16.691" v="2430" actId="1036"/>
          <ac:spMkLst>
            <pc:docMk/>
            <pc:sldMk cId="4060749190" sldId="2147470144"/>
            <ac:spMk id="15" creationId="{8B273836-D1A8-A4A4-3EDE-14F2FD9F8ED0}"/>
          </ac:spMkLst>
        </pc:spChg>
        <pc:spChg chg="add mod">
          <ac:chgData name="Votana Srey" userId="13bee0a8-d205-440d-95f7-48959fdcf002" providerId="ADAL" clId="{0D44528D-A8F9-4657-BEDD-69DBD6A2190B}" dt="2023-02-03T02:03:16.691" v="2430" actId="1036"/>
          <ac:spMkLst>
            <pc:docMk/>
            <pc:sldMk cId="4060749190" sldId="2147470144"/>
            <ac:spMk id="16" creationId="{B18A8BAC-BE97-C99A-3874-173F4392E459}"/>
          </ac:spMkLst>
        </pc:spChg>
        <pc:spChg chg="add mod">
          <ac:chgData name="Votana Srey" userId="13bee0a8-d205-440d-95f7-48959fdcf002" providerId="ADAL" clId="{0D44528D-A8F9-4657-BEDD-69DBD6A2190B}" dt="2023-02-03T02:05:10.056" v="2493" actId="1076"/>
          <ac:spMkLst>
            <pc:docMk/>
            <pc:sldMk cId="4060749190" sldId="2147470144"/>
            <ac:spMk id="17" creationId="{D3D1C23D-8AB9-9079-5D44-BF9B9AD2B595}"/>
          </ac:spMkLst>
        </pc:spChg>
        <pc:spChg chg="add mod">
          <ac:chgData name="Votana Srey" userId="13bee0a8-d205-440d-95f7-48959fdcf002" providerId="ADAL" clId="{0D44528D-A8F9-4657-BEDD-69DBD6A2190B}" dt="2023-02-03T02:05:14.781" v="2496" actId="20577"/>
          <ac:spMkLst>
            <pc:docMk/>
            <pc:sldMk cId="4060749190" sldId="2147470144"/>
            <ac:spMk id="18" creationId="{32EF9311-8681-2245-F953-891B5F698D43}"/>
          </ac:spMkLst>
        </pc:spChg>
        <pc:spChg chg="add mod">
          <ac:chgData name="Votana Srey" userId="13bee0a8-d205-440d-95f7-48959fdcf002" providerId="ADAL" clId="{0D44528D-A8F9-4657-BEDD-69DBD6A2190B}" dt="2023-02-03T08:13:11.864" v="2598" actId="14100"/>
          <ac:spMkLst>
            <pc:docMk/>
            <pc:sldMk cId="4060749190" sldId="2147470144"/>
            <ac:spMk id="19" creationId="{5ED98A2B-2E7B-1758-6F4D-DD30D8325ECB}"/>
          </ac:spMkLst>
        </pc:spChg>
        <pc:spChg chg="add mod">
          <ac:chgData name="Votana Srey" userId="13bee0a8-d205-440d-95f7-48959fdcf002" providerId="ADAL" clId="{0D44528D-A8F9-4657-BEDD-69DBD6A2190B}" dt="2023-02-03T08:13:17.259" v="2607" actId="20577"/>
          <ac:spMkLst>
            <pc:docMk/>
            <pc:sldMk cId="4060749190" sldId="2147470144"/>
            <ac:spMk id="20" creationId="{6F6ACA02-C44C-9D39-9F8B-1300422DA33B}"/>
          </ac:spMkLst>
        </pc:spChg>
        <pc:picChg chg="add mod">
          <ac:chgData name="Votana Srey" userId="13bee0a8-d205-440d-95f7-48959fdcf002" providerId="ADAL" clId="{0D44528D-A8F9-4657-BEDD-69DBD6A2190B}" dt="2023-02-02T18:11:54.223" v="2171"/>
          <ac:picMkLst>
            <pc:docMk/>
            <pc:sldMk cId="4060749190" sldId="2147470144"/>
            <ac:picMk id="2" creationId="{F500ECE1-2BB6-A2FC-4D27-B250A0B7508B}"/>
          </ac:picMkLst>
        </pc:picChg>
        <pc:picChg chg="add del mod">
          <ac:chgData name="Votana Srey" userId="13bee0a8-d205-440d-95f7-48959fdcf002" providerId="ADAL" clId="{0D44528D-A8F9-4657-BEDD-69DBD6A2190B}" dt="2023-02-03T01:53:13.266" v="2239" actId="478"/>
          <ac:picMkLst>
            <pc:docMk/>
            <pc:sldMk cId="4060749190" sldId="2147470144"/>
            <ac:picMk id="9" creationId="{18669EE7-60D5-504B-EB55-B686D65BFE37}"/>
          </ac:picMkLst>
        </pc:picChg>
        <pc:picChg chg="add del mod">
          <ac:chgData name="Votana Srey" userId="13bee0a8-d205-440d-95f7-48959fdcf002" providerId="ADAL" clId="{0D44528D-A8F9-4657-BEDD-69DBD6A2190B}" dt="2023-02-03T01:53:13.266" v="2239" actId="478"/>
          <ac:picMkLst>
            <pc:docMk/>
            <pc:sldMk cId="4060749190" sldId="2147470144"/>
            <ac:picMk id="10" creationId="{19DCB39C-047F-758C-EFF1-F3575BB7D400}"/>
          </ac:picMkLst>
        </pc:picChg>
        <pc:picChg chg="add del mod">
          <ac:chgData name="Votana Srey" userId="13bee0a8-d205-440d-95f7-48959fdcf002" providerId="ADAL" clId="{0D44528D-A8F9-4657-BEDD-69DBD6A2190B}" dt="2023-02-03T01:53:13.266" v="2239" actId="478"/>
          <ac:picMkLst>
            <pc:docMk/>
            <pc:sldMk cId="4060749190" sldId="2147470144"/>
            <ac:picMk id="11" creationId="{B4FF7E7F-C283-CB64-BB94-5352B3C95529}"/>
          </ac:picMkLst>
        </pc:picChg>
        <pc:picChg chg="add mod">
          <ac:chgData name="Votana Srey" userId="13bee0a8-d205-440d-95f7-48959fdcf002" providerId="ADAL" clId="{0D44528D-A8F9-4657-BEDD-69DBD6A2190B}" dt="2023-02-03T02:02:57.436" v="2403" actId="1036"/>
          <ac:picMkLst>
            <pc:docMk/>
            <pc:sldMk cId="4060749190" sldId="2147470144"/>
            <ac:picMk id="11266" creationId="{28C7D70B-0F9E-6BFD-A414-9F0C181ED955}"/>
          </ac:picMkLst>
        </pc:picChg>
        <pc:picChg chg="add mod">
          <ac:chgData name="Votana Srey" userId="13bee0a8-d205-440d-95f7-48959fdcf002" providerId="ADAL" clId="{0D44528D-A8F9-4657-BEDD-69DBD6A2190B}" dt="2023-02-03T02:02:57.436" v="2403" actId="1036"/>
          <ac:picMkLst>
            <pc:docMk/>
            <pc:sldMk cId="4060749190" sldId="2147470144"/>
            <ac:picMk id="11268" creationId="{2B929309-9955-F6C4-8731-7E20C87B5956}"/>
          </ac:picMkLst>
        </pc:picChg>
        <pc:picChg chg="add mod">
          <ac:chgData name="Votana Srey" userId="13bee0a8-d205-440d-95f7-48959fdcf002" providerId="ADAL" clId="{0D44528D-A8F9-4657-BEDD-69DBD6A2190B}" dt="2023-02-03T02:04:29.435" v="2464" actId="1076"/>
          <ac:picMkLst>
            <pc:docMk/>
            <pc:sldMk cId="4060749190" sldId="2147470144"/>
            <ac:picMk id="11270" creationId="{AF16B377-7012-315A-475D-C4A2AACA4880}"/>
          </ac:picMkLst>
        </pc:picChg>
        <pc:picChg chg="add del">
          <ac:chgData name="Votana Srey" userId="13bee0a8-d205-440d-95f7-48959fdcf002" providerId="ADAL" clId="{0D44528D-A8F9-4657-BEDD-69DBD6A2190B}" dt="2023-02-03T01:53:18.215" v="2241" actId="478"/>
          <ac:picMkLst>
            <pc:docMk/>
            <pc:sldMk cId="4060749190" sldId="2147470144"/>
            <ac:picMk id="11272" creationId="{E44320A2-80C2-7BCB-640D-986FD092C9F4}"/>
          </ac:picMkLst>
        </pc:picChg>
        <pc:picChg chg="add del mod">
          <ac:chgData name="Votana Srey" userId="13bee0a8-d205-440d-95f7-48959fdcf002" providerId="ADAL" clId="{0D44528D-A8F9-4657-BEDD-69DBD6A2190B}" dt="2023-02-03T01:56:19.508" v="2275" actId="478"/>
          <ac:picMkLst>
            <pc:docMk/>
            <pc:sldMk cId="4060749190" sldId="2147470144"/>
            <ac:picMk id="11274" creationId="{EFA5776C-F259-E015-DDE3-6DE6C997EC0B}"/>
          </ac:picMkLst>
        </pc:picChg>
        <pc:picChg chg="add mod">
          <ac:chgData name="Votana Srey" userId="13bee0a8-d205-440d-95f7-48959fdcf002" providerId="ADAL" clId="{0D44528D-A8F9-4657-BEDD-69DBD6A2190B}" dt="2023-02-03T02:03:16.691" v="2430" actId="1036"/>
          <ac:picMkLst>
            <pc:docMk/>
            <pc:sldMk cId="4060749190" sldId="2147470144"/>
            <ac:picMk id="11276" creationId="{014679EF-C98A-FAC4-1CD5-58C230EC378A}"/>
          </ac:picMkLst>
        </pc:picChg>
        <pc:picChg chg="add mod">
          <ac:chgData name="Votana Srey" userId="13bee0a8-d205-440d-95f7-48959fdcf002" providerId="ADAL" clId="{0D44528D-A8F9-4657-BEDD-69DBD6A2190B}" dt="2023-02-03T02:03:16.691" v="2430" actId="1036"/>
          <ac:picMkLst>
            <pc:docMk/>
            <pc:sldMk cId="4060749190" sldId="2147470144"/>
            <ac:picMk id="11278" creationId="{05DA6F21-E71A-95C5-8232-952264A65828}"/>
          </ac:picMkLst>
        </pc:picChg>
        <pc:picChg chg="add del">
          <ac:chgData name="Votana Srey" userId="13bee0a8-d205-440d-95f7-48959fdcf002" providerId="ADAL" clId="{0D44528D-A8F9-4657-BEDD-69DBD6A2190B}" dt="2023-02-03T01:57:09.615" v="2280" actId="478"/>
          <ac:picMkLst>
            <pc:docMk/>
            <pc:sldMk cId="4060749190" sldId="2147470144"/>
            <ac:picMk id="11280" creationId="{20BD38A1-6E3E-9E43-1437-F90DEA350D5E}"/>
          </ac:picMkLst>
        </pc:picChg>
        <pc:picChg chg="add mod">
          <ac:chgData name="Votana Srey" userId="13bee0a8-d205-440d-95f7-48959fdcf002" providerId="ADAL" clId="{0D44528D-A8F9-4657-BEDD-69DBD6A2190B}" dt="2023-02-03T02:03:16.691" v="2430" actId="1036"/>
          <ac:picMkLst>
            <pc:docMk/>
            <pc:sldMk cId="4060749190" sldId="2147470144"/>
            <ac:picMk id="11282" creationId="{AB23B21C-3C4B-1E85-D821-3C20FE134636}"/>
          </ac:picMkLst>
        </pc:picChg>
        <pc:picChg chg="add del">
          <ac:chgData name="Votana Srey" userId="13bee0a8-d205-440d-95f7-48959fdcf002" providerId="ADAL" clId="{0D44528D-A8F9-4657-BEDD-69DBD6A2190B}" dt="2023-02-03T01:58:12.631" v="2296" actId="478"/>
          <ac:picMkLst>
            <pc:docMk/>
            <pc:sldMk cId="4060749190" sldId="2147470144"/>
            <ac:picMk id="11284" creationId="{0B5FF656-8831-9F50-2E0B-A73A23A1367D}"/>
          </ac:picMkLst>
        </pc:picChg>
        <pc:picChg chg="add mod">
          <ac:chgData name="Votana Srey" userId="13bee0a8-d205-440d-95f7-48959fdcf002" providerId="ADAL" clId="{0D44528D-A8F9-4657-BEDD-69DBD6A2190B}" dt="2023-02-03T02:03:16.691" v="2430" actId="1036"/>
          <ac:picMkLst>
            <pc:docMk/>
            <pc:sldMk cId="4060749190" sldId="2147470144"/>
            <ac:picMk id="11286" creationId="{369311DE-4413-C0FA-2DBF-04E6D0C6112E}"/>
          </ac:picMkLst>
        </pc:picChg>
        <pc:picChg chg="add mod">
          <ac:chgData name="Votana Srey" userId="13bee0a8-d205-440d-95f7-48959fdcf002" providerId="ADAL" clId="{0D44528D-A8F9-4657-BEDD-69DBD6A2190B}" dt="2023-02-03T02:03:16.691" v="2430" actId="1036"/>
          <ac:picMkLst>
            <pc:docMk/>
            <pc:sldMk cId="4060749190" sldId="2147470144"/>
            <ac:picMk id="11288" creationId="{D8F6E2A1-08BC-7410-C87A-62C63C9499B5}"/>
          </ac:picMkLst>
        </pc:picChg>
      </pc:sldChg>
      <pc:sldChg chg="addSp delSp modSp add mod">
        <pc:chgData name="Votana Srey" userId="13bee0a8-d205-440d-95f7-48959fdcf002" providerId="ADAL" clId="{0D44528D-A8F9-4657-BEDD-69DBD6A2190B}" dt="2023-02-17T15:27:45.559" v="3726" actId="20577"/>
        <pc:sldMkLst>
          <pc:docMk/>
          <pc:sldMk cId="2288843333" sldId="2147470145"/>
        </pc:sldMkLst>
        <pc:spChg chg="add del">
          <ac:chgData name="Votana Srey" userId="13bee0a8-d205-440d-95f7-48959fdcf002" providerId="ADAL" clId="{0D44528D-A8F9-4657-BEDD-69DBD6A2190B}" dt="2023-02-09T04:37:16.930" v="2640"/>
          <ac:spMkLst>
            <pc:docMk/>
            <pc:sldMk cId="2288843333" sldId="2147470145"/>
            <ac:spMk id="2" creationId="{4090D26B-CFBB-5595-F203-449D19DE40F5}"/>
          </ac:spMkLst>
        </pc:spChg>
        <pc:spChg chg="mod">
          <ac:chgData name="Votana Srey" userId="13bee0a8-d205-440d-95f7-48959fdcf002" providerId="ADAL" clId="{0D44528D-A8F9-4657-BEDD-69DBD6A2190B}" dt="2023-02-09T04:05:59.812" v="2638" actId="20577"/>
          <ac:spMkLst>
            <pc:docMk/>
            <pc:sldMk cId="2288843333" sldId="2147470145"/>
            <ac:spMk id="3" creationId="{FA226BB7-DA39-CDB7-C74A-FD4EEEAA2B6C}"/>
          </ac:spMkLst>
        </pc:spChg>
        <pc:spChg chg="add del">
          <ac:chgData name="Votana Srey" userId="13bee0a8-d205-440d-95f7-48959fdcf002" providerId="ADAL" clId="{0D44528D-A8F9-4657-BEDD-69DBD6A2190B}" dt="2023-02-09T04:38:05.767" v="2644"/>
          <ac:spMkLst>
            <pc:docMk/>
            <pc:sldMk cId="2288843333" sldId="2147470145"/>
            <ac:spMk id="4" creationId="{BAB5BF56-AE2F-B8D8-C8B7-2E822434D274}"/>
          </ac:spMkLst>
        </pc:spChg>
        <pc:spChg chg="del">
          <ac:chgData name="Votana Srey" userId="13bee0a8-d205-440d-95f7-48959fdcf002" providerId="ADAL" clId="{0D44528D-A8F9-4657-BEDD-69DBD6A2190B}" dt="2023-02-09T04:05:37.173" v="2609" actId="478"/>
          <ac:spMkLst>
            <pc:docMk/>
            <pc:sldMk cId="2288843333" sldId="2147470145"/>
            <ac:spMk id="7" creationId="{632464BB-24B2-4920-A74D-D8618DDA72C5}"/>
          </ac:spMkLst>
        </pc:spChg>
        <pc:spChg chg="del">
          <ac:chgData name="Votana Srey" userId="13bee0a8-d205-440d-95f7-48959fdcf002" providerId="ADAL" clId="{0D44528D-A8F9-4657-BEDD-69DBD6A2190B}" dt="2023-02-09T04:05:37.173" v="2609" actId="478"/>
          <ac:spMkLst>
            <pc:docMk/>
            <pc:sldMk cId="2288843333" sldId="2147470145"/>
            <ac:spMk id="8" creationId="{16C86254-61F8-4909-8F94-8AFB9576BD34}"/>
          </ac:spMkLst>
        </pc:spChg>
        <pc:spChg chg="del">
          <ac:chgData name="Votana Srey" userId="13bee0a8-d205-440d-95f7-48959fdcf002" providerId="ADAL" clId="{0D44528D-A8F9-4657-BEDD-69DBD6A2190B}" dt="2023-02-09T04:05:37.173" v="2609" actId="478"/>
          <ac:spMkLst>
            <pc:docMk/>
            <pc:sldMk cId="2288843333" sldId="2147470145"/>
            <ac:spMk id="13" creationId="{90A78B1E-02A3-4847-AF5E-9076E811FDC5}"/>
          </ac:spMkLst>
        </pc:spChg>
        <pc:spChg chg="add mod">
          <ac:chgData name="Votana Srey" userId="13bee0a8-d205-440d-95f7-48959fdcf002" providerId="ADAL" clId="{0D44528D-A8F9-4657-BEDD-69DBD6A2190B}" dt="2023-02-09T04:40:09.864" v="2719" actId="1036"/>
          <ac:spMkLst>
            <pc:docMk/>
            <pc:sldMk cId="2288843333" sldId="2147470145"/>
            <ac:spMk id="14" creationId="{388CAE5D-30C6-B3FC-DCA6-F3BBF9746C2C}"/>
          </ac:spMkLst>
        </pc:spChg>
        <pc:spChg chg="add mod">
          <ac:chgData name="Votana Srey" userId="13bee0a8-d205-440d-95f7-48959fdcf002" providerId="ADAL" clId="{0D44528D-A8F9-4657-BEDD-69DBD6A2190B}" dt="2023-02-09T04:40:09.864" v="2719" actId="1036"/>
          <ac:spMkLst>
            <pc:docMk/>
            <pc:sldMk cId="2288843333" sldId="2147470145"/>
            <ac:spMk id="15" creationId="{41129864-9CF4-7EB1-A53B-A35EC781DEEA}"/>
          </ac:spMkLst>
        </pc:spChg>
        <pc:spChg chg="add mod">
          <ac:chgData name="Votana Srey" userId="13bee0a8-d205-440d-95f7-48959fdcf002" providerId="ADAL" clId="{0D44528D-A8F9-4657-BEDD-69DBD6A2190B}" dt="2023-02-17T15:27:45.559" v="3726" actId="20577"/>
          <ac:spMkLst>
            <pc:docMk/>
            <pc:sldMk cId="2288843333" sldId="2147470145"/>
            <ac:spMk id="16" creationId="{52C67846-7462-E58F-88AA-344E6D07245E}"/>
          </ac:spMkLst>
        </pc:spChg>
        <pc:spChg chg="del">
          <ac:chgData name="Votana Srey" userId="13bee0a8-d205-440d-95f7-48959fdcf002" providerId="ADAL" clId="{0D44528D-A8F9-4657-BEDD-69DBD6A2190B}" dt="2023-02-09T04:05:37.173" v="2609" actId="478"/>
          <ac:spMkLst>
            <pc:docMk/>
            <pc:sldMk cId="2288843333" sldId="2147470145"/>
            <ac:spMk id="18" creationId="{9ECBF4F5-2DD6-D69C-7BE9-EEBAEB1985FE}"/>
          </ac:spMkLst>
        </pc:spChg>
        <pc:spChg chg="del">
          <ac:chgData name="Votana Srey" userId="13bee0a8-d205-440d-95f7-48959fdcf002" providerId="ADAL" clId="{0D44528D-A8F9-4657-BEDD-69DBD6A2190B}" dt="2023-02-09T04:05:37.173" v="2609" actId="478"/>
          <ac:spMkLst>
            <pc:docMk/>
            <pc:sldMk cId="2288843333" sldId="2147470145"/>
            <ac:spMk id="19" creationId="{648CED10-7171-0D0A-8DFB-9505654866DF}"/>
          </ac:spMkLst>
        </pc:spChg>
        <pc:spChg chg="add mod">
          <ac:chgData name="Votana Srey" userId="13bee0a8-d205-440d-95f7-48959fdcf002" providerId="ADAL" clId="{0D44528D-A8F9-4657-BEDD-69DBD6A2190B}" dt="2023-02-09T04:40:09.864" v="2719" actId="1036"/>
          <ac:spMkLst>
            <pc:docMk/>
            <pc:sldMk cId="2288843333" sldId="2147470145"/>
            <ac:spMk id="20" creationId="{0D337DB3-1ACE-DFC8-D885-F85C7131123A}"/>
          </ac:spMkLst>
        </pc:spChg>
        <pc:spChg chg="add mod">
          <ac:chgData name="Votana Srey" userId="13bee0a8-d205-440d-95f7-48959fdcf002" providerId="ADAL" clId="{0D44528D-A8F9-4657-BEDD-69DBD6A2190B}" dt="2023-02-09T04:40:09.864" v="2719" actId="1036"/>
          <ac:spMkLst>
            <pc:docMk/>
            <pc:sldMk cId="2288843333" sldId="2147470145"/>
            <ac:spMk id="23" creationId="{C6E405F3-4CCE-3610-DDF1-75C4780A90AA}"/>
          </ac:spMkLst>
        </pc:spChg>
        <pc:spChg chg="mod">
          <ac:chgData name="Votana Srey" userId="13bee0a8-d205-440d-95f7-48959fdcf002" providerId="ADAL" clId="{0D44528D-A8F9-4657-BEDD-69DBD6A2190B}" dt="2023-02-09T04:39:09.468" v="2666" actId="1038"/>
          <ac:spMkLst>
            <pc:docMk/>
            <pc:sldMk cId="2288843333" sldId="2147470145"/>
            <ac:spMk id="30" creationId="{29BC8092-237F-564C-458D-70A4E9A97202}"/>
          </ac:spMkLst>
        </pc:spChg>
        <pc:spChg chg="mod">
          <ac:chgData name="Votana Srey" userId="13bee0a8-d205-440d-95f7-48959fdcf002" providerId="ADAL" clId="{0D44528D-A8F9-4657-BEDD-69DBD6A2190B}" dt="2023-02-09T04:39:09.468" v="2666" actId="1038"/>
          <ac:spMkLst>
            <pc:docMk/>
            <pc:sldMk cId="2288843333" sldId="2147470145"/>
            <ac:spMk id="31" creationId="{98EC672A-C9E6-8BAE-D614-9008C1705CC3}"/>
          </ac:spMkLst>
        </pc:spChg>
        <pc:spChg chg="mod">
          <ac:chgData name="Votana Srey" userId="13bee0a8-d205-440d-95f7-48959fdcf002" providerId="ADAL" clId="{0D44528D-A8F9-4657-BEDD-69DBD6A2190B}" dt="2023-02-09T04:38:33.948" v="2646"/>
          <ac:spMkLst>
            <pc:docMk/>
            <pc:sldMk cId="2288843333" sldId="2147470145"/>
            <ac:spMk id="32" creationId="{24AE1EA5-90F4-ED4A-26F5-D5D4FCA436E0}"/>
          </ac:spMkLst>
        </pc:spChg>
        <pc:spChg chg="mod">
          <ac:chgData name="Votana Srey" userId="13bee0a8-d205-440d-95f7-48959fdcf002" providerId="ADAL" clId="{0D44528D-A8F9-4657-BEDD-69DBD6A2190B}" dt="2023-02-09T04:38:33.948" v="2646"/>
          <ac:spMkLst>
            <pc:docMk/>
            <pc:sldMk cId="2288843333" sldId="2147470145"/>
            <ac:spMk id="33" creationId="{E8649FCE-DA4B-C63C-6FF0-B2C840563AD7}"/>
          </ac:spMkLst>
        </pc:spChg>
        <pc:spChg chg="mod">
          <ac:chgData name="Votana Srey" userId="13bee0a8-d205-440d-95f7-48959fdcf002" providerId="ADAL" clId="{0D44528D-A8F9-4657-BEDD-69DBD6A2190B}" dt="2023-02-09T04:38:33.948" v="2646"/>
          <ac:spMkLst>
            <pc:docMk/>
            <pc:sldMk cId="2288843333" sldId="2147470145"/>
            <ac:spMk id="34" creationId="{EE429CAE-8BF3-F066-4F98-C8BD1B19F2B1}"/>
          </ac:spMkLst>
        </pc:spChg>
        <pc:spChg chg="mod">
          <ac:chgData name="Votana Srey" userId="13bee0a8-d205-440d-95f7-48959fdcf002" providerId="ADAL" clId="{0D44528D-A8F9-4657-BEDD-69DBD6A2190B}" dt="2023-02-09T04:38:33.948" v="2646"/>
          <ac:spMkLst>
            <pc:docMk/>
            <pc:sldMk cId="2288843333" sldId="2147470145"/>
            <ac:spMk id="35" creationId="{339CD3C1-6B19-57FC-135E-C420A6E6FBB5}"/>
          </ac:spMkLst>
        </pc:spChg>
        <pc:spChg chg="add mod">
          <ac:chgData name="Votana Srey" userId="13bee0a8-d205-440d-95f7-48959fdcf002" providerId="ADAL" clId="{0D44528D-A8F9-4657-BEDD-69DBD6A2190B}" dt="2023-02-09T04:40:09.864" v="2719" actId="1036"/>
          <ac:spMkLst>
            <pc:docMk/>
            <pc:sldMk cId="2288843333" sldId="2147470145"/>
            <ac:spMk id="36" creationId="{AD15B592-02EE-9EA2-9CE0-667922F19B55}"/>
          </ac:spMkLst>
        </pc:spChg>
        <pc:spChg chg="add mod">
          <ac:chgData name="Votana Srey" userId="13bee0a8-d205-440d-95f7-48959fdcf002" providerId="ADAL" clId="{0D44528D-A8F9-4657-BEDD-69DBD6A2190B}" dt="2023-02-09T04:40:09.864" v="2719" actId="1036"/>
          <ac:spMkLst>
            <pc:docMk/>
            <pc:sldMk cId="2288843333" sldId="2147470145"/>
            <ac:spMk id="37" creationId="{8E607640-FC82-EC9A-A0E3-0703EA584FB4}"/>
          </ac:spMkLst>
        </pc:spChg>
        <pc:spChg chg="add mod">
          <ac:chgData name="Votana Srey" userId="13bee0a8-d205-440d-95f7-48959fdcf002" providerId="ADAL" clId="{0D44528D-A8F9-4657-BEDD-69DBD6A2190B}" dt="2023-02-09T04:40:09.864" v="2719" actId="1036"/>
          <ac:spMkLst>
            <pc:docMk/>
            <pc:sldMk cId="2288843333" sldId="2147470145"/>
            <ac:spMk id="38" creationId="{D8DCF604-7FF8-22C0-5534-CD5E1FD40ECA}"/>
          </ac:spMkLst>
        </pc:spChg>
        <pc:spChg chg="add mod">
          <ac:chgData name="Votana Srey" userId="13bee0a8-d205-440d-95f7-48959fdcf002" providerId="ADAL" clId="{0D44528D-A8F9-4657-BEDD-69DBD6A2190B}" dt="2023-02-09T04:40:09.864" v="2719" actId="1036"/>
          <ac:spMkLst>
            <pc:docMk/>
            <pc:sldMk cId="2288843333" sldId="2147470145"/>
            <ac:spMk id="39" creationId="{7AC2E41B-CC29-476A-483F-886CFD120AB9}"/>
          </ac:spMkLst>
        </pc:spChg>
        <pc:spChg chg="add mod">
          <ac:chgData name="Votana Srey" userId="13bee0a8-d205-440d-95f7-48959fdcf002" providerId="ADAL" clId="{0D44528D-A8F9-4657-BEDD-69DBD6A2190B}" dt="2023-02-09T04:42:22.647" v="2769" actId="1037"/>
          <ac:spMkLst>
            <pc:docMk/>
            <pc:sldMk cId="2288843333" sldId="2147470145"/>
            <ac:spMk id="40" creationId="{98991FCE-026B-2B71-221D-DEFA0645640C}"/>
          </ac:spMkLst>
        </pc:spChg>
        <pc:spChg chg="add mod">
          <ac:chgData name="Votana Srey" userId="13bee0a8-d205-440d-95f7-48959fdcf002" providerId="ADAL" clId="{0D44528D-A8F9-4657-BEDD-69DBD6A2190B}" dt="2023-02-09T04:40:09.864" v="2719" actId="1036"/>
          <ac:spMkLst>
            <pc:docMk/>
            <pc:sldMk cId="2288843333" sldId="2147470145"/>
            <ac:spMk id="42" creationId="{595924B4-3591-8896-54A3-99A808966F83}"/>
          </ac:spMkLst>
        </pc:spChg>
        <pc:spChg chg="del">
          <ac:chgData name="Votana Srey" userId="13bee0a8-d205-440d-95f7-48959fdcf002" providerId="ADAL" clId="{0D44528D-A8F9-4657-BEDD-69DBD6A2190B}" dt="2023-02-09T04:05:37.173" v="2609" actId="478"/>
          <ac:spMkLst>
            <pc:docMk/>
            <pc:sldMk cId="2288843333" sldId="2147470145"/>
            <ac:spMk id="43" creationId="{711748B7-A61C-48EE-B51D-4FC593219A11}"/>
          </ac:spMkLst>
        </pc:spChg>
        <pc:spChg chg="add mod">
          <ac:chgData name="Votana Srey" userId="13bee0a8-d205-440d-95f7-48959fdcf002" providerId="ADAL" clId="{0D44528D-A8F9-4657-BEDD-69DBD6A2190B}" dt="2023-02-09T04:40:09.864" v="2719" actId="1036"/>
          <ac:spMkLst>
            <pc:docMk/>
            <pc:sldMk cId="2288843333" sldId="2147470145"/>
            <ac:spMk id="44" creationId="{81C17459-A04E-21FE-EB37-79E7005C29FA}"/>
          </ac:spMkLst>
        </pc:spChg>
        <pc:spChg chg="add mod">
          <ac:chgData name="Votana Srey" userId="13bee0a8-d205-440d-95f7-48959fdcf002" providerId="ADAL" clId="{0D44528D-A8F9-4657-BEDD-69DBD6A2190B}" dt="2023-02-09T04:40:09.864" v="2719" actId="1036"/>
          <ac:spMkLst>
            <pc:docMk/>
            <pc:sldMk cId="2288843333" sldId="2147470145"/>
            <ac:spMk id="45" creationId="{8140E231-1EDA-9578-6C88-AE7E8444A4A6}"/>
          </ac:spMkLst>
        </pc:spChg>
        <pc:spChg chg="add mod">
          <ac:chgData name="Votana Srey" userId="13bee0a8-d205-440d-95f7-48959fdcf002" providerId="ADAL" clId="{0D44528D-A8F9-4657-BEDD-69DBD6A2190B}" dt="2023-02-09T04:40:09.864" v="2719" actId="1036"/>
          <ac:spMkLst>
            <pc:docMk/>
            <pc:sldMk cId="2288843333" sldId="2147470145"/>
            <ac:spMk id="46" creationId="{15D5F002-3449-51D4-6FF4-6BB8D3036D45}"/>
          </ac:spMkLst>
        </pc:spChg>
        <pc:spChg chg="add mod">
          <ac:chgData name="Votana Srey" userId="13bee0a8-d205-440d-95f7-48959fdcf002" providerId="ADAL" clId="{0D44528D-A8F9-4657-BEDD-69DBD6A2190B}" dt="2023-02-09T04:40:09.864" v="2719" actId="1036"/>
          <ac:spMkLst>
            <pc:docMk/>
            <pc:sldMk cId="2288843333" sldId="2147470145"/>
            <ac:spMk id="47" creationId="{CDA847C3-DF80-8A48-E446-E7521DA59513}"/>
          </ac:spMkLst>
        </pc:spChg>
        <pc:spChg chg="add mod">
          <ac:chgData name="Votana Srey" userId="13bee0a8-d205-440d-95f7-48959fdcf002" providerId="ADAL" clId="{0D44528D-A8F9-4657-BEDD-69DBD6A2190B}" dt="2023-02-09T04:40:09.864" v="2719" actId="1036"/>
          <ac:spMkLst>
            <pc:docMk/>
            <pc:sldMk cId="2288843333" sldId="2147470145"/>
            <ac:spMk id="48" creationId="{458E4B34-9CE1-0019-64BD-BD9275F86EE8}"/>
          </ac:spMkLst>
        </pc:spChg>
        <pc:spChg chg="add mod">
          <ac:chgData name="Votana Srey" userId="13bee0a8-d205-440d-95f7-48959fdcf002" providerId="ADAL" clId="{0D44528D-A8F9-4657-BEDD-69DBD6A2190B}" dt="2023-02-09T04:40:09.864" v="2719" actId="1036"/>
          <ac:spMkLst>
            <pc:docMk/>
            <pc:sldMk cId="2288843333" sldId="2147470145"/>
            <ac:spMk id="51" creationId="{104AA0CC-FDDA-2ADA-3BDB-A6E047237F43}"/>
          </ac:spMkLst>
        </pc:spChg>
        <pc:spChg chg="add mod">
          <ac:chgData name="Votana Srey" userId="13bee0a8-d205-440d-95f7-48959fdcf002" providerId="ADAL" clId="{0D44528D-A8F9-4657-BEDD-69DBD6A2190B}" dt="2023-02-09T04:40:09.864" v="2719" actId="1036"/>
          <ac:spMkLst>
            <pc:docMk/>
            <pc:sldMk cId="2288843333" sldId="2147470145"/>
            <ac:spMk id="52" creationId="{04F7D391-EDD6-CBB2-C5B5-2C12C26FAEC5}"/>
          </ac:spMkLst>
        </pc:spChg>
        <pc:spChg chg="add mod">
          <ac:chgData name="Votana Srey" userId="13bee0a8-d205-440d-95f7-48959fdcf002" providerId="ADAL" clId="{0D44528D-A8F9-4657-BEDD-69DBD6A2190B}" dt="2023-02-09T04:43:19.685" v="2770" actId="113"/>
          <ac:spMkLst>
            <pc:docMk/>
            <pc:sldMk cId="2288843333" sldId="2147470145"/>
            <ac:spMk id="62" creationId="{C0830C9B-A823-8465-965B-8FED1C8F4DC6}"/>
          </ac:spMkLst>
        </pc:spChg>
        <pc:spChg chg="del">
          <ac:chgData name="Votana Srey" userId="13bee0a8-d205-440d-95f7-48959fdcf002" providerId="ADAL" clId="{0D44528D-A8F9-4657-BEDD-69DBD6A2190B}" dt="2023-02-09T04:05:37.173" v="2609" actId="478"/>
          <ac:spMkLst>
            <pc:docMk/>
            <pc:sldMk cId="2288843333" sldId="2147470145"/>
            <ac:spMk id="82" creationId="{12FD5DEE-A063-45C5-A68A-D2BFDA53DA3B}"/>
          </ac:spMkLst>
        </pc:spChg>
        <pc:spChg chg="del">
          <ac:chgData name="Votana Srey" userId="13bee0a8-d205-440d-95f7-48959fdcf002" providerId="ADAL" clId="{0D44528D-A8F9-4657-BEDD-69DBD6A2190B}" dt="2023-02-09T04:05:37.173" v="2609" actId="478"/>
          <ac:spMkLst>
            <pc:docMk/>
            <pc:sldMk cId="2288843333" sldId="2147470145"/>
            <ac:spMk id="88" creationId="{47144593-0E07-4C3F-8A17-27C6C77E89AC}"/>
          </ac:spMkLst>
        </pc:spChg>
        <pc:spChg chg="del">
          <ac:chgData name="Votana Srey" userId="13bee0a8-d205-440d-95f7-48959fdcf002" providerId="ADAL" clId="{0D44528D-A8F9-4657-BEDD-69DBD6A2190B}" dt="2023-02-09T04:05:37.173" v="2609" actId="478"/>
          <ac:spMkLst>
            <pc:docMk/>
            <pc:sldMk cId="2288843333" sldId="2147470145"/>
            <ac:spMk id="95" creationId="{ACFEFECC-2114-4979-9F52-51A450139568}"/>
          </ac:spMkLst>
        </pc:spChg>
        <pc:spChg chg="del">
          <ac:chgData name="Votana Srey" userId="13bee0a8-d205-440d-95f7-48959fdcf002" providerId="ADAL" clId="{0D44528D-A8F9-4657-BEDD-69DBD6A2190B}" dt="2023-02-09T04:05:37.173" v="2609" actId="478"/>
          <ac:spMkLst>
            <pc:docMk/>
            <pc:sldMk cId="2288843333" sldId="2147470145"/>
            <ac:spMk id="96" creationId="{F3EA08E7-7D10-4176-AE26-DB4884618F15}"/>
          </ac:spMkLst>
        </pc:spChg>
        <pc:spChg chg="del">
          <ac:chgData name="Votana Srey" userId="13bee0a8-d205-440d-95f7-48959fdcf002" providerId="ADAL" clId="{0D44528D-A8F9-4657-BEDD-69DBD6A2190B}" dt="2023-02-09T04:05:42.347" v="2610" actId="478"/>
          <ac:spMkLst>
            <pc:docMk/>
            <pc:sldMk cId="2288843333" sldId="2147470145"/>
            <ac:spMk id="97" creationId="{DFD254A7-6AA5-4D7C-B07C-8153F31B8998}"/>
          </ac:spMkLst>
        </pc:spChg>
        <pc:spChg chg="del">
          <ac:chgData name="Votana Srey" userId="13bee0a8-d205-440d-95f7-48959fdcf002" providerId="ADAL" clId="{0D44528D-A8F9-4657-BEDD-69DBD6A2190B}" dt="2023-02-09T04:05:37.173" v="2609" actId="478"/>
          <ac:spMkLst>
            <pc:docMk/>
            <pc:sldMk cId="2288843333" sldId="2147470145"/>
            <ac:spMk id="132" creationId="{536CEB6C-E337-45B7-93D7-820AAF34586C}"/>
          </ac:spMkLst>
        </pc:spChg>
        <pc:spChg chg="del">
          <ac:chgData name="Votana Srey" userId="13bee0a8-d205-440d-95f7-48959fdcf002" providerId="ADAL" clId="{0D44528D-A8F9-4657-BEDD-69DBD6A2190B}" dt="2023-02-09T04:05:37.173" v="2609" actId="478"/>
          <ac:spMkLst>
            <pc:docMk/>
            <pc:sldMk cId="2288843333" sldId="2147470145"/>
            <ac:spMk id="146" creationId="{49A1F8CF-DB77-41BB-866C-CA420E517C78}"/>
          </ac:spMkLst>
        </pc:spChg>
        <pc:spChg chg="del">
          <ac:chgData name="Votana Srey" userId="13bee0a8-d205-440d-95f7-48959fdcf002" providerId="ADAL" clId="{0D44528D-A8F9-4657-BEDD-69DBD6A2190B}" dt="2023-02-09T04:05:37.173" v="2609" actId="478"/>
          <ac:spMkLst>
            <pc:docMk/>
            <pc:sldMk cId="2288843333" sldId="2147470145"/>
            <ac:spMk id="204" creationId="{D369ED5E-078B-404E-9BF6-70B09D07DA6E}"/>
          </ac:spMkLst>
        </pc:spChg>
        <pc:spChg chg="del">
          <ac:chgData name="Votana Srey" userId="13bee0a8-d205-440d-95f7-48959fdcf002" providerId="ADAL" clId="{0D44528D-A8F9-4657-BEDD-69DBD6A2190B}" dt="2023-02-09T04:05:37.173" v="2609" actId="478"/>
          <ac:spMkLst>
            <pc:docMk/>
            <pc:sldMk cId="2288843333" sldId="2147470145"/>
            <ac:spMk id="236" creationId="{8889F9B6-CF92-4E25-8334-89689AC28DC6}"/>
          </ac:spMkLst>
        </pc:spChg>
        <pc:spChg chg="del">
          <ac:chgData name="Votana Srey" userId="13bee0a8-d205-440d-95f7-48959fdcf002" providerId="ADAL" clId="{0D44528D-A8F9-4657-BEDD-69DBD6A2190B}" dt="2023-02-09T04:05:37.173" v="2609" actId="478"/>
          <ac:spMkLst>
            <pc:docMk/>
            <pc:sldMk cId="2288843333" sldId="2147470145"/>
            <ac:spMk id="237" creationId="{72D5FF38-976A-406A-81B1-BBF8507848E7}"/>
          </ac:spMkLst>
        </pc:spChg>
        <pc:spChg chg="del">
          <ac:chgData name="Votana Srey" userId="13bee0a8-d205-440d-95f7-48959fdcf002" providerId="ADAL" clId="{0D44528D-A8F9-4657-BEDD-69DBD6A2190B}" dt="2023-02-09T04:05:37.173" v="2609" actId="478"/>
          <ac:spMkLst>
            <pc:docMk/>
            <pc:sldMk cId="2288843333" sldId="2147470145"/>
            <ac:spMk id="238" creationId="{2687BC96-19F4-48BF-BEFA-E7B589A3C067}"/>
          </ac:spMkLst>
        </pc:spChg>
        <pc:spChg chg="del">
          <ac:chgData name="Votana Srey" userId="13bee0a8-d205-440d-95f7-48959fdcf002" providerId="ADAL" clId="{0D44528D-A8F9-4657-BEDD-69DBD6A2190B}" dt="2023-02-09T04:05:37.173" v="2609" actId="478"/>
          <ac:spMkLst>
            <pc:docMk/>
            <pc:sldMk cId="2288843333" sldId="2147470145"/>
            <ac:spMk id="239" creationId="{59410BE0-DABB-4CF0-BCC7-40D5C2EBA034}"/>
          </ac:spMkLst>
        </pc:spChg>
        <pc:grpChg chg="add mod">
          <ac:chgData name="Votana Srey" userId="13bee0a8-d205-440d-95f7-48959fdcf002" providerId="ADAL" clId="{0D44528D-A8F9-4657-BEDD-69DBD6A2190B}" dt="2023-02-09T04:40:09.864" v="2719" actId="1036"/>
          <ac:grpSpMkLst>
            <pc:docMk/>
            <pc:sldMk cId="2288843333" sldId="2147470145"/>
            <ac:grpSpMk id="24" creationId="{7014BE07-7597-720B-E330-B697577FB88C}"/>
          </ac:grpSpMkLst>
        </pc:grpChg>
        <pc:picChg chg="add mod">
          <ac:chgData name="Votana Srey" userId="13bee0a8-d205-440d-95f7-48959fdcf002" providerId="ADAL" clId="{0D44528D-A8F9-4657-BEDD-69DBD6A2190B}" dt="2023-02-09T04:40:09.864" v="2719" actId="1036"/>
          <ac:picMkLst>
            <pc:docMk/>
            <pc:sldMk cId="2288843333" sldId="2147470145"/>
            <ac:picMk id="9" creationId="{BF1C81EF-1290-703C-D456-62D1E5DD74A8}"/>
          </ac:picMkLst>
        </pc:picChg>
        <pc:picChg chg="add mod">
          <ac:chgData name="Votana Srey" userId="13bee0a8-d205-440d-95f7-48959fdcf002" providerId="ADAL" clId="{0D44528D-A8F9-4657-BEDD-69DBD6A2190B}" dt="2023-02-09T04:40:09.864" v="2719" actId="1036"/>
          <ac:picMkLst>
            <pc:docMk/>
            <pc:sldMk cId="2288843333" sldId="2147470145"/>
            <ac:picMk id="10" creationId="{566BCB2F-7880-F135-B2C9-1976FF607D81}"/>
          </ac:picMkLst>
        </pc:picChg>
        <pc:picChg chg="add mod">
          <ac:chgData name="Votana Srey" userId="13bee0a8-d205-440d-95f7-48959fdcf002" providerId="ADAL" clId="{0D44528D-A8F9-4657-BEDD-69DBD6A2190B}" dt="2023-02-09T04:40:09.864" v="2719" actId="1036"/>
          <ac:picMkLst>
            <pc:docMk/>
            <pc:sldMk cId="2288843333" sldId="2147470145"/>
            <ac:picMk id="11" creationId="{18ACC618-B595-D285-55D8-47EC607EFE89}"/>
          </ac:picMkLst>
        </pc:picChg>
        <pc:picChg chg="add mod">
          <ac:chgData name="Votana Srey" userId="13bee0a8-d205-440d-95f7-48959fdcf002" providerId="ADAL" clId="{0D44528D-A8F9-4657-BEDD-69DBD6A2190B}" dt="2023-02-09T04:40:09.864" v="2719" actId="1036"/>
          <ac:picMkLst>
            <pc:docMk/>
            <pc:sldMk cId="2288843333" sldId="2147470145"/>
            <ac:picMk id="12" creationId="{9733FDD4-BF56-9565-AE91-5FF520C51161}"/>
          </ac:picMkLst>
        </pc:picChg>
        <pc:picChg chg="del">
          <ac:chgData name="Votana Srey" userId="13bee0a8-d205-440d-95f7-48959fdcf002" providerId="ADAL" clId="{0D44528D-A8F9-4657-BEDD-69DBD6A2190B}" dt="2023-02-09T04:05:44.290" v="2611" actId="478"/>
          <ac:picMkLst>
            <pc:docMk/>
            <pc:sldMk cId="2288843333" sldId="2147470145"/>
            <ac:picMk id="17" creationId="{5666DCE4-2EFC-8EB4-F166-478C2D970BE2}"/>
          </ac:picMkLst>
        </pc:picChg>
        <pc:picChg chg="add mod">
          <ac:chgData name="Votana Srey" userId="13bee0a8-d205-440d-95f7-48959fdcf002" providerId="ADAL" clId="{0D44528D-A8F9-4657-BEDD-69DBD6A2190B}" dt="2023-02-09T04:40:09.864" v="2719" actId="1036"/>
          <ac:picMkLst>
            <pc:docMk/>
            <pc:sldMk cId="2288843333" sldId="2147470145"/>
            <ac:picMk id="21" creationId="{9EF69883-CECC-2402-6B22-B9E02B80B625}"/>
          </ac:picMkLst>
        </pc:picChg>
        <pc:picChg chg="add mod">
          <ac:chgData name="Votana Srey" userId="13bee0a8-d205-440d-95f7-48959fdcf002" providerId="ADAL" clId="{0D44528D-A8F9-4657-BEDD-69DBD6A2190B}" dt="2023-02-09T04:40:09.864" v="2719" actId="1036"/>
          <ac:picMkLst>
            <pc:docMk/>
            <pc:sldMk cId="2288843333" sldId="2147470145"/>
            <ac:picMk id="22" creationId="{87C47F9E-B094-197A-A570-BBFB350B799D}"/>
          </ac:picMkLst>
        </pc:picChg>
        <pc:picChg chg="mod">
          <ac:chgData name="Votana Srey" userId="13bee0a8-d205-440d-95f7-48959fdcf002" providerId="ADAL" clId="{0D44528D-A8F9-4657-BEDD-69DBD6A2190B}" dt="2023-02-09T04:38:33.948" v="2646"/>
          <ac:picMkLst>
            <pc:docMk/>
            <pc:sldMk cId="2288843333" sldId="2147470145"/>
            <ac:picMk id="25" creationId="{11835CD2-07A6-40B1-5DEF-8DDE136D5DA2}"/>
          </ac:picMkLst>
        </pc:picChg>
        <pc:picChg chg="mod">
          <ac:chgData name="Votana Srey" userId="13bee0a8-d205-440d-95f7-48959fdcf002" providerId="ADAL" clId="{0D44528D-A8F9-4657-BEDD-69DBD6A2190B}" dt="2023-02-09T04:38:33.948" v="2646"/>
          <ac:picMkLst>
            <pc:docMk/>
            <pc:sldMk cId="2288843333" sldId="2147470145"/>
            <ac:picMk id="26" creationId="{306AEB80-EDE0-20F0-2066-1DA98BDE677F}"/>
          </ac:picMkLst>
        </pc:picChg>
        <pc:picChg chg="mod">
          <ac:chgData name="Votana Srey" userId="13bee0a8-d205-440d-95f7-48959fdcf002" providerId="ADAL" clId="{0D44528D-A8F9-4657-BEDD-69DBD6A2190B}" dt="2023-02-09T04:38:33.948" v="2646"/>
          <ac:picMkLst>
            <pc:docMk/>
            <pc:sldMk cId="2288843333" sldId="2147470145"/>
            <ac:picMk id="27" creationId="{62BDDA82-03FB-3DA2-A731-92B4D6127EC9}"/>
          </ac:picMkLst>
        </pc:picChg>
        <pc:picChg chg="mod">
          <ac:chgData name="Votana Srey" userId="13bee0a8-d205-440d-95f7-48959fdcf002" providerId="ADAL" clId="{0D44528D-A8F9-4657-BEDD-69DBD6A2190B}" dt="2023-02-09T04:38:33.948" v="2646"/>
          <ac:picMkLst>
            <pc:docMk/>
            <pc:sldMk cId="2288843333" sldId="2147470145"/>
            <ac:picMk id="28" creationId="{A3713589-B76E-C7DD-3A52-01974FF6916B}"/>
          </ac:picMkLst>
        </pc:picChg>
        <pc:picChg chg="mod">
          <ac:chgData name="Votana Srey" userId="13bee0a8-d205-440d-95f7-48959fdcf002" providerId="ADAL" clId="{0D44528D-A8F9-4657-BEDD-69DBD6A2190B}" dt="2023-02-09T04:38:33.948" v="2646"/>
          <ac:picMkLst>
            <pc:docMk/>
            <pc:sldMk cId="2288843333" sldId="2147470145"/>
            <ac:picMk id="29" creationId="{9F12AF40-3FEE-2631-8DA1-22048329F813}"/>
          </ac:picMkLst>
        </pc:picChg>
        <pc:picChg chg="add mod">
          <ac:chgData name="Votana Srey" userId="13bee0a8-d205-440d-95f7-48959fdcf002" providerId="ADAL" clId="{0D44528D-A8F9-4657-BEDD-69DBD6A2190B}" dt="2023-02-09T04:40:09.864" v="2719" actId="1036"/>
          <ac:picMkLst>
            <pc:docMk/>
            <pc:sldMk cId="2288843333" sldId="2147470145"/>
            <ac:picMk id="41" creationId="{89E0C420-8ED6-54FF-AC27-41549CD703D6}"/>
          </ac:picMkLst>
        </pc:picChg>
        <pc:picChg chg="add mod">
          <ac:chgData name="Votana Srey" userId="13bee0a8-d205-440d-95f7-48959fdcf002" providerId="ADAL" clId="{0D44528D-A8F9-4657-BEDD-69DBD6A2190B}" dt="2023-02-09T04:40:09.864" v="2719" actId="1036"/>
          <ac:picMkLst>
            <pc:docMk/>
            <pc:sldMk cId="2288843333" sldId="2147470145"/>
            <ac:picMk id="50" creationId="{09ED17A7-187B-792F-1F6E-961906B9097F}"/>
          </ac:picMkLst>
        </pc:picChg>
        <pc:picChg chg="add del">
          <ac:chgData name="Votana Srey" userId="13bee0a8-d205-440d-95f7-48959fdcf002" providerId="ADAL" clId="{0D44528D-A8F9-4657-BEDD-69DBD6A2190B}" dt="2023-02-09T04:37:16.930" v="2640"/>
          <ac:picMkLst>
            <pc:docMk/>
            <pc:sldMk cId="2288843333" sldId="2147470145"/>
            <ac:picMk id="1026" creationId="{1A30D95A-5085-230E-65B9-69EB987EE7FC}"/>
          </ac:picMkLst>
        </pc:picChg>
        <pc:picChg chg="add del">
          <ac:chgData name="Votana Srey" userId="13bee0a8-d205-440d-95f7-48959fdcf002" providerId="ADAL" clId="{0D44528D-A8F9-4657-BEDD-69DBD6A2190B}" dt="2023-02-09T04:37:16.930" v="2640"/>
          <ac:picMkLst>
            <pc:docMk/>
            <pc:sldMk cId="2288843333" sldId="2147470145"/>
            <ac:picMk id="1027" creationId="{74AFEC03-6781-06C3-0055-B3262A3D3804}"/>
          </ac:picMkLst>
        </pc:picChg>
        <pc:picChg chg="add del">
          <ac:chgData name="Votana Srey" userId="13bee0a8-d205-440d-95f7-48959fdcf002" providerId="ADAL" clId="{0D44528D-A8F9-4657-BEDD-69DBD6A2190B}" dt="2023-02-09T04:37:16.930" v="2640"/>
          <ac:picMkLst>
            <pc:docMk/>
            <pc:sldMk cId="2288843333" sldId="2147470145"/>
            <ac:picMk id="1028" creationId="{581AB843-F60A-E5B2-2A43-928ECD96D758}"/>
          </ac:picMkLst>
        </pc:picChg>
        <pc:picChg chg="add del">
          <ac:chgData name="Votana Srey" userId="13bee0a8-d205-440d-95f7-48959fdcf002" providerId="ADAL" clId="{0D44528D-A8F9-4657-BEDD-69DBD6A2190B}" dt="2023-02-09T04:37:16.930" v="2640"/>
          <ac:picMkLst>
            <pc:docMk/>
            <pc:sldMk cId="2288843333" sldId="2147470145"/>
            <ac:picMk id="1029" creationId="{6D1DA1D0-3E27-F2DD-D011-337ABE659338}"/>
          </ac:picMkLst>
        </pc:picChg>
        <pc:picChg chg="add del">
          <ac:chgData name="Votana Srey" userId="13bee0a8-d205-440d-95f7-48959fdcf002" providerId="ADAL" clId="{0D44528D-A8F9-4657-BEDD-69DBD6A2190B}" dt="2023-02-09T04:37:16.930" v="2640"/>
          <ac:picMkLst>
            <pc:docMk/>
            <pc:sldMk cId="2288843333" sldId="2147470145"/>
            <ac:picMk id="1030" creationId="{575B72B3-5C77-9B19-9317-B76E87A919F2}"/>
          </ac:picMkLst>
        </pc:picChg>
        <pc:picChg chg="add del">
          <ac:chgData name="Votana Srey" userId="13bee0a8-d205-440d-95f7-48959fdcf002" providerId="ADAL" clId="{0D44528D-A8F9-4657-BEDD-69DBD6A2190B}" dt="2023-02-09T04:37:16.930" v="2640"/>
          <ac:picMkLst>
            <pc:docMk/>
            <pc:sldMk cId="2288843333" sldId="2147470145"/>
            <ac:picMk id="1032" creationId="{02DE8964-C2EC-EF0B-42BF-D5F35E0C0F7D}"/>
          </ac:picMkLst>
        </pc:picChg>
        <pc:picChg chg="add del">
          <ac:chgData name="Votana Srey" userId="13bee0a8-d205-440d-95f7-48959fdcf002" providerId="ADAL" clId="{0D44528D-A8F9-4657-BEDD-69DBD6A2190B}" dt="2023-02-09T04:37:16.930" v="2640"/>
          <ac:picMkLst>
            <pc:docMk/>
            <pc:sldMk cId="2288843333" sldId="2147470145"/>
            <ac:picMk id="1033" creationId="{3CD35838-3373-67AC-58F1-B4874D5BDCE6}"/>
          </ac:picMkLst>
        </pc:picChg>
        <pc:picChg chg="add del">
          <ac:chgData name="Votana Srey" userId="13bee0a8-d205-440d-95f7-48959fdcf002" providerId="ADAL" clId="{0D44528D-A8F9-4657-BEDD-69DBD6A2190B}" dt="2023-02-09T04:38:05.767" v="2644"/>
          <ac:picMkLst>
            <pc:docMk/>
            <pc:sldMk cId="2288843333" sldId="2147470145"/>
            <ac:picMk id="1035" creationId="{4A3D81AC-FEF1-00D2-A814-CAAD8D458D34}"/>
          </ac:picMkLst>
        </pc:picChg>
        <pc:picChg chg="add del">
          <ac:chgData name="Votana Srey" userId="13bee0a8-d205-440d-95f7-48959fdcf002" providerId="ADAL" clId="{0D44528D-A8F9-4657-BEDD-69DBD6A2190B}" dt="2023-02-09T04:38:05.767" v="2644"/>
          <ac:picMkLst>
            <pc:docMk/>
            <pc:sldMk cId="2288843333" sldId="2147470145"/>
            <ac:picMk id="1036" creationId="{784895CD-4AD4-26DB-AB2F-69FAB3CEBA0E}"/>
          </ac:picMkLst>
        </pc:picChg>
        <pc:picChg chg="add del">
          <ac:chgData name="Votana Srey" userId="13bee0a8-d205-440d-95f7-48959fdcf002" providerId="ADAL" clId="{0D44528D-A8F9-4657-BEDD-69DBD6A2190B}" dt="2023-02-09T04:38:05.767" v="2644"/>
          <ac:picMkLst>
            <pc:docMk/>
            <pc:sldMk cId="2288843333" sldId="2147470145"/>
            <ac:picMk id="1037" creationId="{F810D98B-F1CF-9B6B-7A72-7D40AB06CF03}"/>
          </ac:picMkLst>
        </pc:picChg>
        <pc:picChg chg="add del mod">
          <ac:chgData name="Votana Srey" userId="13bee0a8-d205-440d-95f7-48959fdcf002" providerId="ADAL" clId="{0D44528D-A8F9-4657-BEDD-69DBD6A2190B}" dt="2023-02-09T04:38:05.767" v="2644"/>
          <ac:picMkLst>
            <pc:docMk/>
            <pc:sldMk cId="2288843333" sldId="2147470145"/>
            <ac:picMk id="1038" creationId="{21D637D8-48FC-E6C3-9EB4-692B4E8DD187}"/>
          </ac:picMkLst>
        </pc:picChg>
        <pc:picChg chg="add del">
          <ac:chgData name="Votana Srey" userId="13bee0a8-d205-440d-95f7-48959fdcf002" providerId="ADAL" clId="{0D44528D-A8F9-4657-BEDD-69DBD6A2190B}" dt="2023-02-09T04:38:05.767" v="2644"/>
          <ac:picMkLst>
            <pc:docMk/>
            <pc:sldMk cId="2288843333" sldId="2147470145"/>
            <ac:picMk id="1039" creationId="{D900B284-9C94-4CC3-6A83-5599B4DA6935}"/>
          </ac:picMkLst>
        </pc:picChg>
        <pc:picChg chg="add del">
          <ac:chgData name="Votana Srey" userId="13bee0a8-d205-440d-95f7-48959fdcf002" providerId="ADAL" clId="{0D44528D-A8F9-4657-BEDD-69DBD6A2190B}" dt="2023-02-09T04:38:05.767" v="2644"/>
          <ac:picMkLst>
            <pc:docMk/>
            <pc:sldMk cId="2288843333" sldId="2147470145"/>
            <ac:picMk id="1040" creationId="{CA6815C1-D3E8-64B1-A3AD-26564D09A359}"/>
          </ac:picMkLst>
        </pc:picChg>
        <pc:picChg chg="add del">
          <ac:chgData name="Votana Srey" userId="13bee0a8-d205-440d-95f7-48959fdcf002" providerId="ADAL" clId="{0D44528D-A8F9-4657-BEDD-69DBD6A2190B}" dt="2023-02-09T04:38:05.767" v="2644"/>
          <ac:picMkLst>
            <pc:docMk/>
            <pc:sldMk cId="2288843333" sldId="2147470145"/>
            <ac:picMk id="1042" creationId="{C9B629C6-6AFB-2AF5-734A-DE9B1C9B1398}"/>
          </ac:picMkLst>
        </pc:picChg>
        <pc:cxnChg chg="add mod">
          <ac:chgData name="Votana Srey" userId="13bee0a8-d205-440d-95f7-48959fdcf002" providerId="ADAL" clId="{0D44528D-A8F9-4657-BEDD-69DBD6A2190B}" dt="2023-02-09T04:40:09.864" v="2719" actId="1036"/>
          <ac:cxnSpMkLst>
            <pc:docMk/>
            <pc:sldMk cId="2288843333" sldId="2147470145"/>
            <ac:cxnSpMk id="49" creationId="{F1352309-5335-CB7F-96FA-ADD2F5AA395A}"/>
          </ac:cxnSpMkLst>
        </pc:cxnChg>
        <pc:cxnChg chg="del">
          <ac:chgData name="Votana Srey" userId="13bee0a8-d205-440d-95f7-48959fdcf002" providerId="ADAL" clId="{0D44528D-A8F9-4657-BEDD-69DBD6A2190B}" dt="2023-02-09T04:05:37.173" v="2609" actId="478"/>
          <ac:cxnSpMkLst>
            <pc:docMk/>
            <pc:sldMk cId="2288843333" sldId="2147470145"/>
            <ac:cxnSpMk id="241" creationId="{1C233873-5E51-4FDE-AE18-0D4B7D6B7700}"/>
          </ac:cxnSpMkLst>
        </pc:cxnChg>
        <pc:cxnChg chg="del">
          <ac:chgData name="Votana Srey" userId="13bee0a8-d205-440d-95f7-48959fdcf002" providerId="ADAL" clId="{0D44528D-A8F9-4657-BEDD-69DBD6A2190B}" dt="2023-02-09T04:05:37.173" v="2609" actId="478"/>
          <ac:cxnSpMkLst>
            <pc:docMk/>
            <pc:sldMk cId="2288843333" sldId="2147470145"/>
            <ac:cxnSpMk id="242" creationId="{6C5328E6-6E94-448D-BDB9-90C174AFEE69}"/>
          </ac:cxnSpMkLst>
        </pc:cxnChg>
        <pc:cxnChg chg="del">
          <ac:chgData name="Votana Srey" userId="13bee0a8-d205-440d-95f7-48959fdcf002" providerId="ADAL" clId="{0D44528D-A8F9-4657-BEDD-69DBD6A2190B}" dt="2023-02-09T04:05:37.173" v="2609" actId="478"/>
          <ac:cxnSpMkLst>
            <pc:docMk/>
            <pc:sldMk cId="2288843333" sldId="2147470145"/>
            <ac:cxnSpMk id="243" creationId="{FBA93B8E-9BE6-49FA-BA33-64C7195DD52C}"/>
          </ac:cxnSpMkLst>
        </pc:cxnChg>
        <pc:cxnChg chg="del">
          <ac:chgData name="Votana Srey" userId="13bee0a8-d205-440d-95f7-48959fdcf002" providerId="ADAL" clId="{0D44528D-A8F9-4657-BEDD-69DBD6A2190B}" dt="2023-02-09T04:05:37.173" v="2609" actId="478"/>
          <ac:cxnSpMkLst>
            <pc:docMk/>
            <pc:sldMk cId="2288843333" sldId="2147470145"/>
            <ac:cxnSpMk id="244" creationId="{3A08D279-EB45-4B0E-AEA8-6D6199A86014}"/>
          </ac:cxnSpMkLst>
        </pc:cxnChg>
      </pc:sldChg>
      <pc:sldChg chg="addSp delSp modSp add mod">
        <pc:chgData name="Votana Srey" userId="13bee0a8-d205-440d-95f7-48959fdcf002" providerId="ADAL" clId="{0D44528D-A8F9-4657-BEDD-69DBD6A2190B}" dt="2023-02-10T01:39:46.650" v="3022" actId="20577"/>
        <pc:sldMkLst>
          <pc:docMk/>
          <pc:sldMk cId="2884242161" sldId="2147470146"/>
        </pc:sldMkLst>
        <pc:spChg chg="mod">
          <ac:chgData name="Votana Srey" userId="13bee0a8-d205-440d-95f7-48959fdcf002" providerId="ADAL" clId="{0D44528D-A8F9-4657-BEDD-69DBD6A2190B}" dt="2023-02-09T04:49:59.389" v="2808" actId="1076"/>
          <ac:spMkLst>
            <pc:docMk/>
            <pc:sldMk cId="2884242161" sldId="2147470146"/>
            <ac:spMk id="3" creationId="{FA226BB7-DA39-CDB7-C74A-FD4EEEAA2B6C}"/>
          </ac:spMkLst>
        </pc:spChg>
        <pc:spChg chg="mod">
          <ac:chgData name="Votana Srey" userId="13bee0a8-d205-440d-95f7-48959fdcf002" providerId="ADAL" clId="{0D44528D-A8F9-4657-BEDD-69DBD6A2190B}" dt="2023-02-09T04:58:08.311" v="2942" actId="1037"/>
          <ac:spMkLst>
            <pc:docMk/>
            <pc:sldMk cId="2884242161" sldId="2147470146"/>
            <ac:spMk id="14" creationId="{388CAE5D-30C6-B3FC-DCA6-F3BBF9746C2C}"/>
          </ac:spMkLst>
        </pc:spChg>
        <pc:spChg chg="del mod">
          <ac:chgData name="Votana Srey" userId="13bee0a8-d205-440d-95f7-48959fdcf002" providerId="ADAL" clId="{0D44528D-A8F9-4657-BEDD-69DBD6A2190B}" dt="2023-02-09T04:55:53.770" v="2914" actId="478"/>
          <ac:spMkLst>
            <pc:docMk/>
            <pc:sldMk cId="2884242161" sldId="2147470146"/>
            <ac:spMk id="15" creationId="{41129864-9CF4-7EB1-A53B-A35EC781DEEA}"/>
          </ac:spMkLst>
        </pc:spChg>
        <pc:spChg chg="del mod">
          <ac:chgData name="Votana Srey" userId="13bee0a8-d205-440d-95f7-48959fdcf002" providerId="ADAL" clId="{0D44528D-A8F9-4657-BEDD-69DBD6A2190B}" dt="2023-02-09T04:55:53.770" v="2914" actId="478"/>
          <ac:spMkLst>
            <pc:docMk/>
            <pc:sldMk cId="2884242161" sldId="2147470146"/>
            <ac:spMk id="16" creationId="{52C67846-7462-E58F-88AA-344E6D07245E}"/>
          </ac:spMkLst>
        </pc:spChg>
        <pc:spChg chg="del mod">
          <ac:chgData name="Votana Srey" userId="13bee0a8-d205-440d-95f7-48959fdcf002" providerId="ADAL" clId="{0D44528D-A8F9-4657-BEDD-69DBD6A2190B}" dt="2023-02-09T04:55:53.770" v="2914" actId="478"/>
          <ac:spMkLst>
            <pc:docMk/>
            <pc:sldMk cId="2884242161" sldId="2147470146"/>
            <ac:spMk id="20" creationId="{0D337DB3-1ACE-DFC8-D885-F85C7131123A}"/>
          </ac:spMkLst>
        </pc:spChg>
        <pc:spChg chg="del mod">
          <ac:chgData name="Votana Srey" userId="13bee0a8-d205-440d-95f7-48959fdcf002" providerId="ADAL" clId="{0D44528D-A8F9-4657-BEDD-69DBD6A2190B}" dt="2023-02-09T04:55:53.770" v="2914" actId="478"/>
          <ac:spMkLst>
            <pc:docMk/>
            <pc:sldMk cId="2884242161" sldId="2147470146"/>
            <ac:spMk id="23" creationId="{C6E405F3-4CCE-3610-DDF1-75C4780A90AA}"/>
          </ac:spMkLst>
        </pc:spChg>
        <pc:spChg chg="mod">
          <ac:chgData name="Votana Srey" userId="13bee0a8-d205-440d-95f7-48959fdcf002" providerId="ADAL" clId="{0D44528D-A8F9-4657-BEDD-69DBD6A2190B}" dt="2023-02-09T06:57:04.328" v="3006" actId="255"/>
          <ac:spMkLst>
            <pc:docMk/>
            <pc:sldMk cId="2884242161" sldId="2147470146"/>
            <ac:spMk id="30" creationId="{29BC8092-237F-564C-458D-70A4E9A97202}"/>
          </ac:spMkLst>
        </pc:spChg>
        <pc:spChg chg="mod">
          <ac:chgData name="Votana Srey" userId="13bee0a8-d205-440d-95f7-48959fdcf002" providerId="ADAL" clId="{0D44528D-A8F9-4657-BEDD-69DBD6A2190B}" dt="2023-02-09T06:57:04.328" v="3006" actId="255"/>
          <ac:spMkLst>
            <pc:docMk/>
            <pc:sldMk cId="2884242161" sldId="2147470146"/>
            <ac:spMk id="31" creationId="{98EC672A-C9E6-8BAE-D614-9008C1705CC3}"/>
          </ac:spMkLst>
        </pc:spChg>
        <pc:spChg chg="mod">
          <ac:chgData name="Votana Srey" userId="13bee0a8-d205-440d-95f7-48959fdcf002" providerId="ADAL" clId="{0D44528D-A8F9-4657-BEDD-69DBD6A2190B}" dt="2023-02-09T06:57:04.328" v="3006" actId="255"/>
          <ac:spMkLst>
            <pc:docMk/>
            <pc:sldMk cId="2884242161" sldId="2147470146"/>
            <ac:spMk id="32" creationId="{24AE1EA5-90F4-ED4A-26F5-D5D4FCA436E0}"/>
          </ac:spMkLst>
        </pc:spChg>
        <pc:spChg chg="mod">
          <ac:chgData name="Votana Srey" userId="13bee0a8-d205-440d-95f7-48959fdcf002" providerId="ADAL" clId="{0D44528D-A8F9-4657-BEDD-69DBD6A2190B}" dt="2023-02-09T06:57:04.328" v="3006" actId="255"/>
          <ac:spMkLst>
            <pc:docMk/>
            <pc:sldMk cId="2884242161" sldId="2147470146"/>
            <ac:spMk id="33" creationId="{E8649FCE-DA4B-C63C-6FF0-B2C840563AD7}"/>
          </ac:spMkLst>
        </pc:spChg>
        <pc:spChg chg="mod">
          <ac:chgData name="Votana Srey" userId="13bee0a8-d205-440d-95f7-48959fdcf002" providerId="ADAL" clId="{0D44528D-A8F9-4657-BEDD-69DBD6A2190B}" dt="2023-02-09T06:57:04.328" v="3006" actId="255"/>
          <ac:spMkLst>
            <pc:docMk/>
            <pc:sldMk cId="2884242161" sldId="2147470146"/>
            <ac:spMk id="34" creationId="{EE429CAE-8BF3-F066-4F98-C8BD1B19F2B1}"/>
          </ac:spMkLst>
        </pc:spChg>
        <pc:spChg chg="mod">
          <ac:chgData name="Votana Srey" userId="13bee0a8-d205-440d-95f7-48959fdcf002" providerId="ADAL" clId="{0D44528D-A8F9-4657-BEDD-69DBD6A2190B}" dt="2023-02-09T04:58:13.539" v="2944" actId="1076"/>
          <ac:spMkLst>
            <pc:docMk/>
            <pc:sldMk cId="2884242161" sldId="2147470146"/>
            <ac:spMk id="36" creationId="{AD15B592-02EE-9EA2-9CE0-667922F19B55}"/>
          </ac:spMkLst>
        </pc:spChg>
        <pc:spChg chg="del mod">
          <ac:chgData name="Votana Srey" userId="13bee0a8-d205-440d-95f7-48959fdcf002" providerId="ADAL" clId="{0D44528D-A8F9-4657-BEDD-69DBD6A2190B}" dt="2023-02-09T04:55:53.770" v="2914" actId="478"/>
          <ac:spMkLst>
            <pc:docMk/>
            <pc:sldMk cId="2884242161" sldId="2147470146"/>
            <ac:spMk id="37" creationId="{8E607640-FC82-EC9A-A0E3-0703EA584FB4}"/>
          </ac:spMkLst>
        </pc:spChg>
        <pc:spChg chg="del mod">
          <ac:chgData name="Votana Srey" userId="13bee0a8-d205-440d-95f7-48959fdcf002" providerId="ADAL" clId="{0D44528D-A8F9-4657-BEDD-69DBD6A2190B}" dt="2023-02-09T04:55:53.770" v="2914" actId="478"/>
          <ac:spMkLst>
            <pc:docMk/>
            <pc:sldMk cId="2884242161" sldId="2147470146"/>
            <ac:spMk id="38" creationId="{D8DCF604-7FF8-22C0-5534-CD5E1FD40ECA}"/>
          </ac:spMkLst>
        </pc:spChg>
        <pc:spChg chg="del mod">
          <ac:chgData name="Votana Srey" userId="13bee0a8-d205-440d-95f7-48959fdcf002" providerId="ADAL" clId="{0D44528D-A8F9-4657-BEDD-69DBD6A2190B}" dt="2023-02-09T04:55:53.770" v="2914" actId="478"/>
          <ac:spMkLst>
            <pc:docMk/>
            <pc:sldMk cId="2884242161" sldId="2147470146"/>
            <ac:spMk id="39" creationId="{7AC2E41B-CC29-476A-483F-886CFD120AB9}"/>
          </ac:spMkLst>
        </pc:spChg>
        <pc:spChg chg="del mod">
          <ac:chgData name="Votana Srey" userId="13bee0a8-d205-440d-95f7-48959fdcf002" providerId="ADAL" clId="{0D44528D-A8F9-4657-BEDD-69DBD6A2190B}" dt="2023-02-09T04:55:53.770" v="2914" actId="478"/>
          <ac:spMkLst>
            <pc:docMk/>
            <pc:sldMk cId="2884242161" sldId="2147470146"/>
            <ac:spMk id="40" creationId="{98991FCE-026B-2B71-221D-DEFA0645640C}"/>
          </ac:spMkLst>
        </pc:spChg>
        <pc:spChg chg="del mod">
          <ac:chgData name="Votana Srey" userId="13bee0a8-d205-440d-95f7-48959fdcf002" providerId="ADAL" clId="{0D44528D-A8F9-4657-BEDD-69DBD6A2190B}" dt="2023-02-09T04:55:53.770" v="2914" actId="478"/>
          <ac:spMkLst>
            <pc:docMk/>
            <pc:sldMk cId="2884242161" sldId="2147470146"/>
            <ac:spMk id="42" creationId="{595924B4-3591-8896-54A3-99A808966F83}"/>
          </ac:spMkLst>
        </pc:spChg>
        <pc:spChg chg="del mod">
          <ac:chgData name="Votana Srey" userId="13bee0a8-d205-440d-95f7-48959fdcf002" providerId="ADAL" clId="{0D44528D-A8F9-4657-BEDD-69DBD6A2190B}" dt="2023-02-09T04:51:14.244" v="2817" actId="478"/>
          <ac:spMkLst>
            <pc:docMk/>
            <pc:sldMk cId="2884242161" sldId="2147470146"/>
            <ac:spMk id="43" creationId="{BD435BAA-27B5-E51D-E2C5-25199DCA434A}"/>
          </ac:spMkLst>
        </pc:spChg>
        <pc:spChg chg="del mod">
          <ac:chgData name="Votana Srey" userId="13bee0a8-d205-440d-95f7-48959fdcf002" providerId="ADAL" clId="{0D44528D-A8F9-4657-BEDD-69DBD6A2190B}" dt="2023-02-09T04:55:53.770" v="2914" actId="478"/>
          <ac:spMkLst>
            <pc:docMk/>
            <pc:sldMk cId="2884242161" sldId="2147470146"/>
            <ac:spMk id="44" creationId="{81C17459-A04E-21FE-EB37-79E7005C29FA}"/>
          </ac:spMkLst>
        </pc:spChg>
        <pc:spChg chg="del mod">
          <ac:chgData name="Votana Srey" userId="13bee0a8-d205-440d-95f7-48959fdcf002" providerId="ADAL" clId="{0D44528D-A8F9-4657-BEDD-69DBD6A2190B}" dt="2023-02-09T04:55:53.770" v="2914" actId="478"/>
          <ac:spMkLst>
            <pc:docMk/>
            <pc:sldMk cId="2884242161" sldId="2147470146"/>
            <ac:spMk id="45" creationId="{8140E231-1EDA-9578-6C88-AE7E8444A4A6}"/>
          </ac:spMkLst>
        </pc:spChg>
        <pc:spChg chg="del mod">
          <ac:chgData name="Votana Srey" userId="13bee0a8-d205-440d-95f7-48959fdcf002" providerId="ADAL" clId="{0D44528D-A8F9-4657-BEDD-69DBD6A2190B}" dt="2023-02-09T04:55:53.770" v="2914" actId="478"/>
          <ac:spMkLst>
            <pc:docMk/>
            <pc:sldMk cId="2884242161" sldId="2147470146"/>
            <ac:spMk id="46" creationId="{15D5F002-3449-51D4-6FF4-6BB8D3036D45}"/>
          </ac:spMkLst>
        </pc:spChg>
        <pc:spChg chg="del">
          <ac:chgData name="Votana Srey" userId="13bee0a8-d205-440d-95f7-48959fdcf002" providerId="ADAL" clId="{0D44528D-A8F9-4657-BEDD-69DBD6A2190B}" dt="2023-02-09T04:55:53.770" v="2914" actId="478"/>
          <ac:spMkLst>
            <pc:docMk/>
            <pc:sldMk cId="2884242161" sldId="2147470146"/>
            <ac:spMk id="47" creationId="{CDA847C3-DF80-8A48-E446-E7521DA59513}"/>
          </ac:spMkLst>
        </pc:spChg>
        <pc:spChg chg="del">
          <ac:chgData name="Votana Srey" userId="13bee0a8-d205-440d-95f7-48959fdcf002" providerId="ADAL" clId="{0D44528D-A8F9-4657-BEDD-69DBD6A2190B}" dt="2023-02-09T04:50:57.317" v="2810" actId="478"/>
          <ac:spMkLst>
            <pc:docMk/>
            <pc:sldMk cId="2884242161" sldId="2147470146"/>
            <ac:spMk id="48" creationId="{458E4B34-9CE1-0019-64BD-BD9275F86EE8}"/>
          </ac:spMkLst>
        </pc:spChg>
        <pc:spChg chg="mod">
          <ac:chgData name="Votana Srey" userId="13bee0a8-d205-440d-95f7-48959fdcf002" providerId="ADAL" clId="{0D44528D-A8F9-4657-BEDD-69DBD6A2190B}" dt="2023-02-09T04:58:08.311" v="2942" actId="1037"/>
          <ac:spMkLst>
            <pc:docMk/>
            <pc:sldMk cId="2884242161" sldId="2147470146"/>
            <ac:spMk id="51" creationId="{104AA0CC-FDDA-2ADA-3BDB-A6E047237F43}"/>
          </ac:spMkLst>
        </pc:spChg>
        <pc:spChg chg="del mod">
          <ac:chgData name="Votana Srey" userId="13bee0a8-d205-440d-95f7-48959fdcf002" providerId="ADAL" clId="{0D44528D-A8F9-4657-BEDD-69DBD6A2190B}" dt="2023-02-09T04:51:28.173" v="2823" actId="478"/>
          <ac:spMkLst>
            <pc:docMk/>
            <pc:sldMk cId="2884242161" sldId="2147470146"/>
            <ac:spMk id="52" creationId="{04F7D391-EDD6-CBB2-C5B5-2C12C26FAEC5}"/>
          </ac:spMkLst>
        </pc:spChg>
        <pc:spChg chg="del mod">
          <ac:chgData name="Votana Srey" userId="13bee0a8-d205-440d-95f7-48959fdcf002" providerId="ADAL" clId="{0D44528D-A8F9-4657-BEDD-69DBD6A2190B}" dt="2023-02-09T04:51:14.244" v="2817" actId="478"/>
          <ac:spMkLst>
            <pc:docMk/>
            <pc:sldMk cId="2884242161" sldId="2147470146"/>
            <ac:spMk id="53" creationId="{A54F4259-F4D8-4E96-A48A-8894A429BE70}"/>
          </ac:spMkLst>
        </pc:spChg>
        <pc:spChg chg="del mod topLvl">
          <ac:chgData name="Votana Srey" userId="13bee0a8-d205-440d-95f7-48959fdcf002" providerId="ADAL" clId="{0D44528D-A8F9-4657-BEDD-69DBD6A2190B}" dt="2023-02-09T04:51:25.504" v="2822" actId="478"/>
          <ac:spMkLst>
            <pc:docMk/>
            <pc:sldMk cId="2884242161" sldId="2147470146"/>
            <ac:spMk id="54" creationId="{9D74581C-288E-92D2-CE4F-4ED659D4085F}"/>
          </ac:spMkLst>
        </pc:spChg>
        <pc:spChg chg="del mod topLvl">
          <ac:chgData name="Votana Srey" userId="13bee0a8-d205-440d-95f7-48959fdcf002" providerId="ADAL" clId="{0D44528D-A8F9-4657-BEDD-69DBD6A2190B}" dt="2023-02-09T04:51:25.504" v="2822" actId="478"/>
          <ac:spMkLst>
            <pc:docMk/>
            <pc:sldMk cId="2884242161" sldId="2147470146"/>
            <ac:spMk id="55" creationId="{062332DC-A48F-695D-F44E-A62F549BC41D}"/>
          </ac:spMkLst>
        </pc:spChg>
        <pc:spChg chg="del mod topLvl">
          <ac:chgData name="Votana Srey" userId="13bee0a8-d205-440d-95f7-48959fdcf002" providerId="ADAL" clId="{0D44528D-A8F9-4657-BEDD-69DBD6A2190B}" dt="2023-02-09T04:51:25.504" v="2822" actId="478"/>
          <ac:spMkLst>
            <pc:docMk/>
            <pc:sldMk cId="2884242161" sldId="2147470146"/>
            <ac:spMk id="56" creationId="{06D1CC73-9727-BFA9-930B-816C3D5A1C93}"/>
          </ac:spMkLst>
        </pc:spChg>
        <pc:spChg chg="del mod topLvl">
          <ac:chgData name="Votana Srey" userId="13bee0a8-d205-440d-95f7-48959fdcf002" providerId="ADAL" clId="{0D44528D-A8F9-4657-BEDD-69DBD6A2190B}" dt="2023-02-09T04:51:25.504" v="2822" actId="478"/>
          <ac:spMkLst>
            <pc:docMk/>
            <pc:sldMk cId="2884242161" sldId="2147470146"/>
            <ac:spMk id="57" creationId="{EB9BF114-B826-C86E-1C5E-A032F68BCAF3}"/>
          </ac:spMkLst>
        </pc:spChg>
        <pc:spChg chg="add mod">
          <ac:chgData name="Votana Srey" userId="13bee0a8-d205-440d-95f7-48959fdcf002" providerId="ADAL" clId="{0D44528D-A8F9-4657-BEDD-69DBD6A2190B}" dt="2023-02-09T04:58:08.311" v="2942" actId="1037"/>
          <ac:spMkLst>
            <pc:docMk/>
            <pc:sldMk cId="2884242161" sldId="2147470146"/>
            <ac:spMk id="59" creationId="{45330BCF-91B9-3BAA-10DE-5CE014D15438}"/>
          </ac:spMkLst>
        </pc:spChg>
        <pc:spChg chg="add mod">
          <ac:chgData name="Votana Srey" userId="13bee0a8-d205-440d-95f7-48959fdcf002" providerId="ADAL" clId="{0D44528D-A8F9-4657-BEDD-69DBD6A2190B}" dt="2023-02-09T04:58:08.311" v="2942" actId="1037"/>
          <ac:spMkLst>
            <pc:docMk/>
            <pc:sldMk cId="2884242161" sldId="2147470146"/>
            <ac:spMk id="60" creationId="{4CBE2AD4-5F64-EC2F-41E4-FDB72A634D35}"/>
          </ac:spMkLst>
        </pc:spChg>
        <pc:spChg chg="add mod">
          <ac:chgData name="Votana Srey" userId="13bee0a8-d205-440d-95f7-48959fdcf002" providerId="ADAL" clId="{0D44528D-A8F9-4657-BEDD-69DBD6A2190B}" dt="2023-02-09T04:58:08.311" v="2942" actId="1037"/>
          <ac:spMkLst>
            <pc:docMk/>
            <pc:sldMk cId="2884242161" sldId="2147470146"/>
            <ac:spMk id="61" creationId="{7AA1EB47-C58D-92E4-270E-AACF64797946}"/>
          </ac:spMkLst>
        </pc:spChg>
        <pc:spChg chg="mod">
          <ac:chgData name="Votana Srey" userId="13bee0a8-d205-440d-95f7-48959fdcf002" providerId="ADAL" clId="{0D44528D-A8F9-4657-BEDD-69DBD6A2190B}" dt="2023-02-09T04:54:36.114" v="2881" actId="1076"/>
          <ac:spMkLst>
            <pc:docMk/>
            <pc:sldMk cId="2884242161" sldId="2147470146"/>
            <ac:spMk id="62" creationId="{C0830C9B-A823-8465-965B-8FED1C8F4DC6}"/>
          </ac:spMkLst>
        </pc:spChg>
        <pc:spChg chg="add mod">
          <ac:chgData name="Votana Srey" userId="13bee0a8-d205-440d-95f7-48959fdcf002" providerId="ADAL" clId="{0D44528D-A8F9-4657-BEDD-69DBD6A2190B}" dt="2023-02-10T01:38:35.245" v="3007" actId="1076"/>
          <ac:spMkLst>
            <pc:docMk/>
            <pc:sldMk cId="2884242161" sldId="2147470146"/>
            <ac:spMk id="64" creationId="{1DB7810C-484B-FA6A-4802-704E9CFF88FB}"/>
          </ac:spMkLst>
        </pc:spChg>
        <pc:spChg chg="add mod">
          <ac:chgData name="Votana Srey" userId="13bee0a8-d205-440d-95f7-48959fdcf002" providerId="ADAL" clId="{0D44528D-A8F9-4657-BEDD-69DBD6A2190B}" dt="2023-02-09T04:58:28.240" v="2946" actId="1076"/>
          <ac:spMkLst>
            <pc:docMk/>
            <pc:sldMk cId="2884242161" sldId="2147470146"/>
            <ac:spMk id="65" creationId="{1C305A3B-4605-7164-8B86-D9AF44264621}"/>
          </ac:spMkLst>
        </pc:spChg>
        <pc:spChg chg="add mod">
          <ac:chgData name="Votana Srey" userId="13bee0a8-d205-440d-95f7-48959fdcf002" providerId="ADAL" clId="{0D44528D-A8F9-4657-BEDD-69DBD6A2190B}" dt="2023-02-10T01:38:35.245" v="3007" actId="1076"/>
          <ac:spMkLst>
            <pc:docMk/>
            <pc:sldMk cId="2884242161" sldId="2147470146"/>
            <ac:spMk id="67" creationId="{5A03BB4C-3C0F-E535-3DC4-49030D36A070}"/>
          </ac:spMkLst>
        </pc:spChg>
        <pc:spChg chg="add del mod">
          <ac:chgData name="Votana Srey" userId="13bee0a8-d205-440d-95f7-48959fdcf002" providerId="ADAL" clId="{0D44528D-A8F9-4657-BEDD-69DBD6A2190B}" dt="2023-02-09T04:58:42.796" v="2963" actId="478"/>
          <ac:spMkLst>
            <pc:docMk/>
            <pc:sldMk cId="2884242161" sldId="2147470146"/>
            <ac:spMk id="69" creationId="{67A41D53-8101-1C92-2127-E9A223195C85}"/>
          </ac:spMkLst>
        </pc:spChg>
        <pc:spChg chg="add mod">
          <ac:chgData name="Votana Srey" userId="13bee0a8-d205-440d-95f7-48959fdcf002" providerId="ADAL" clId="{0D44528D-A8F9-4657-BEDD-69DBD6A2190B}" dt="2023-02-09T04:58:28.240" v="2946" actId="1076"/>
          <ac:spMkLst>
            <pc:docMk/>
            <pc:sldMk cId="2884242161" sldId="2147470146"/>
            <ac:spMk id="70" creationId="{4A2D91F9-BBD6-64CD-FB9A-77161598FA08}"/>
          </ac:spMkLst>
        </pc:spChg>
        <pc:spChg chg="add mod">
          <ac:chgData name="Votana Srey" userId="13bee0a8-d205-440d-95f7-48959fdcf002" providerId="ADAL" clId="{0D44528D-A8F9-4657-BEDD-69DBD6A2190B}" dt="2023-02-09T04:58:34.110" v="2962" actId="20577"/>
          <ac:spMkLst>
            <pc:docMk/>
            <pc:sldMk cId="2884242161" sldId="2147470146"/>
            <ac:spMk id="71" creationId="{E5B27E03-92BF-926C-5E71-224A18AAF985}"/>
          </ac:spMkLst>
        </pc:spChg>
        <pc:spChg chg="add mod">
          <ac:chgData name="Votana Srey" userId="13bee0a8-d205-440d-95f7-48959fdcf002" providerId="ADAL" clId="{0D44528D-A8F9-4657-BEDD-69DBD6A2190B}" dt="2023-02-10T01:39:46.650" v="3022" actId="20577"/>
          <ac:spMkLst>
            <pc:docMk/>
            <pc:sldMk cId="2884242161" sldId="2147470146"/>
            <ac:spMk id="73" creationId="{BEDC7E70-3BB5-7464-1A49-5C0437833733}"/>
          </ac:spMkLst>
        </pc:spChg>
        <pc:grpChg chg="add del mod">
          <ac:chgData name="Votana Srey" userId="13bee0a8-d205-440d-95f7-48959fdcf002" providerId="ADAL" clId="{0D44528D-A8F9-4657-BEDD-69DBD6A2190B}" dt="2023-02-09T04:51:21.321" v="2819" actId="165"/>
          <ac:grpSpMkLst>
            <pc:docMk/>
            <pc:sldMk cId="2884242161" sldId="2147470146"/>
            <ac:grpSpMk id="7" creationId="{0504D49B-C9FC-DEB8-CBC2-B99F1008561F}"/>
          </ac:grpSpMkLst>
        </pc:grpChg>
        <pc:grpChg chg="mod">
          <ac:chgData name="Votana Srey" userId="13bee0a8-d205-440d-95f7-48959fdcf002" providerId="ADAL" clId="{0D44528D-A8F9-4657-BEDD-69DBD6A2190B}" dt="2023-02-09T04:54:42.844" v="2882" actId="14100"/>
          <ac:grpSpMkLst>
            <pc:docMk/>
            <pc:sldMk cId="2884242161" sldId="2147470146"/>
            <ac:grpSpMk id="24" creationId="{7014BE07-7597-720B-E330-B697577FB88C}"/>
          </ac:grpSpMkLst>
        </pc:grpChg>
        <pc:picChg chg="del mod">
          <ac:chgData name="Votana Srey" userId="13bee0a8-d205-440d-95f7-48959fdcf002" providerId="ADAL" clId="{0D44528D-A8F9-4657-BEDD-69DBD6A2190B}" dt="2023-02-09T04:51:14.244" v="2817" actId="478"/>
          <ac:picMkLst>
            <pc:docMk/>
            <pc:sldMk cId="2884242161" sldId="2147470146"/>
            <ac:picMk id="8" creationId="{F1A190F9-9921-D156-AC4C-2571ADD94F40}"/>
          </ac:picMkLst>
        </pc:picChg>
        <pc:picChg chg="mod">
          <ac:chgData name="Votana Srey" userId="13bee0a8-d205-440d-95f7-48959fdcf002" providerId="ADAL" clId="{0D44528D-A8F9-4657-BEDD-69DBD6A2190B}" dt="2023-02-09T04:58:08.311" v="2942" actId="1037"/>
          <ac:picMkLst>
            <pc:docMk/>
            <pc:sldMk cId="2884242161" sldId="2147470146"/>
            <ac:picMk id="9" creationId="{BF1C81EF-1290-703C-D456-62D1E5DD74A8}"/>
          </ac:picMkLst>
        </pc:picChg>
        <pc:picChg chg="del mod">
          <ac:chgData name="Votana Srey" userId="13bee0a8-d205-440d-95f7-48959fdcf002" providerId="ADAL" clId="{0D44528D-A8F9-4657-BEDD-69DBD6A2190B}" dt="2023-02-09T04:55:53.770" v="2914" actId="478"/>
          <ac:picMkLst>
            <pc:docMk/>
            <pc:sldMk cId="2884242161" sldId="2147470146"/>
            <ac:picMk id="10" creationId="{566BCB2F-7880-F135-B2C9-1976FF607D81}"/>
          </ac:picMkLst>
        </pc:picChg>
        <pc:picChg chg="del mod">
          <ac:chgData name="Votana Srey" userId="13bee0a8-d205-440d-95f7-48959fdcf002" providerId="ADAL" clId="{0D44528D-A8F9-4657-BEDD-69DBD6A2190B}" dt="2023-02-09T04:55:53.770" v="2914" actId="478"/>
          <ac:picMkLst>
            <pc:docMk/>
            <pc:sldMk cId="2884242161" sldId="2147470146"/>
            <ac:picMk id="11" creationId="{18ACC618-B595-D285-55D8-47EC607EFE89}"/>
          </ac:picMkLst>
        </pc:picChg>
        <pc:picChg chg="del mod">
          <ac:chgData name="Votana Srey" userId="13bee0a8-d205-440d-95f7-48959fdcf002" providerId="ADAL" clId="{0D44528D-A8F9-4657-BEDD-69DBD6A2190B}" dt="2023-02-09T04:55:53.770" v="2914" actId="478"/>
          <ac:picMkLst>
            <pc:docMk/>
            <pc:sldMk cId="2884242161" sldId="2147470146"/>
            <ac:picMk id="12" creationId="{9733FDD4-BF56-9565-AE91-5FF520C51161}"/>
          </ac:picMkLst>
        </pc:picChg>
        <pc:picChg chg="del mod topLvl">
          <ac:chgData name="Votana Srey" userId="13bee0a8-d205-440d-95f7-48959fdcf002" providerId="ADAL" clId="{0D44528D-A8F9-4657-BEDD-69DBD6A2190B}" dt="2023-02-09T04:51:25.504" v="2822" actId="478"/>
          <ac:picMkLst>
            <pc:docMk/>
            <pc:sldMk cId="2884242161" sldId="2147470146"/>
            <ac:picMk id="13" creationId="{D651010B-9D21-CD29-014E-316F9E744049}"/>
          </ac:picMkLst>
        </pc:picChg>
        <pc:picChg chg="del mod">
          <ac:chgData name="Votana Srey" userId="13bee0a8-d205-440d-95f7-48959fdcf002" providerId="ADAL" clId="{0D44528D-A8F9-4657-BEDD-69DBD6A2190B}" dt="2023-02-09T04:51:09.309" v="2815" actId="478"/>
          <ac:picMkLst>
            <pc:docMk/>
            <pc:sldMk cId="2884242161" sldId="2147470146"/>
            <ac:picMk id="17" creationId="{592CFC84-E823-ABD3-96F2-E99182ADEE32}"/>
          </ac:picMkLst>
        </pc:picChg>
        <pc:picChg chg="del mod topLvl">
          <ac:chgData name="Votana Srey" userId="13bee0a8-d205-440d-95f7-48959fdcf002" providerId="ADAL" clId="{0D44528D-A8F9-4657-BEDD-69DBD6A2190B}" dt="2023-02-09T04:51:25.504" v="2822" actId="478"/>
          <ac:picMkLst>
            <pc:docMk/>
            <pc:sldMk cId="2884242161" sldId="2147470146"/>
            <ac:picMk id="18" creationId="{D7B267EA-92F2-E9E4-1F22-6D6589C38813}"/>
          </ac:picMkLst>
        </pc:picChg>
        <pc:picChg chg="del mod topLvl">
          <ac:chgData name="Votana Srey" userId="13bee0a8-d205-440d-95f7-48959fdcf002" providerId="ADAL" clId="{0D44528D-A8F9-4657-BEDD-69DBD6A2190B}" dt="2023-02-09T04:51:25.504" v="2822" actId="478"/>
          <ac:picMkLst>
            <pc:docMk/>
            <pc:sldMk cId="2884242161" sldId="2147470146"/>
            <ac:picMk id="19" creationId="{4FB87E2D-BB45-EA3F-A415-63C21CA62D4E}"/>
          </ac:picMkLst>
        </pc:picChg>
        <pc:picChg chg="del mod">
          <ac:chgData name="Votana Srey" userId="13bee0a8-d205-440d-95f7-48959fdcf002" providerId="ADAL" clId="{0D44528D-A8F9-4657-BEDD-69DBD6A2190B}" dt="2023-02-09T04:55:53.770" v="2914" actId="478"/>
          <ac:picMkLst>
            <pc:docMk/>
            <pc:sldMk cId="2884242161" sldId="2147470146"/>
            <ac:picMk id="21" creationId="{9EF69883-CECC-2402-6B22-B9E02B80B625}"/>
          </ac:picMkLst>
        </pc:picChg>
        <pc:picChg chg="del mod">
          <ac:chgData name="Votana Srey" userId="13bee0a8-d205-440d-95f7-48959fdcf002" providerId="ADAL" clId="{0D44528D-A8F9-4657-BEDD-69DBD6A2190B}" dt="2023-02-09T04:55:53.770" v="2914" actId="478"/>
          <ac:picMkLst>
            <pc:docMk/>
            <pc:sldMk cId="2884242161" sldId="2147470146"/>
            <ac:picMk id="22" creationId="{87C47F9E-B094-197A-A570-BBFB350B799D}"/>
          </ac:picMkLst>
        </pc:picChg>
        <pc:picChg chg="del mod">
          <ac:chgData name="Votana Srey" userId="13bee0a8-d205-440d-95f7-48959fdcf002" providerId="ADAL" clId="{0D44528D-A8F9-4657-BEDD-69DBD6A2190B}" dt="2023-02-09T04:55:53.770" v="2914" actId="478"/>
          <ac:picMkLst>
            <pc:docMk/>
            <pc:sldMk cId="2884242161" sldId="2147470146"/>
            <ac:picMk id="41" creationId="{89E0C420-8ED6-54FF-AC27-41549CD703D6}"/>
          </ac:picMkLst>
        </pc:picChg>
        <pc:picChg chg="mod">
          <ac:chgData name="Votana Srey" userId="13bee0a8-d205-440d-95f7-48959fdcf002" providerId="ADAL" clId="{0D44528D-A8F9-4657-BEDD-69DBD6A2190B}" dt="2023-02-09T04:58:08.311" v="2942" actId="1037"/>
          <ac:picMkLst>
            <pc:docMk/>
            <pc:sldMk cId="2884242161" sldId="2147470146"/>
            <ac:picMk id="50" creationId="{09ED17A7-187B-792F-1F6E-961906B9097F}"/>
          </ac:picMkLst>
        </pc:picChg>
        <pc:picChg chg="add mod">
          <ac:chgData name="Votana Srey" userId="13bee0a8-d205-440d-95f7-48959fdcf002" providerId="ADAL" clId="{0D44528D-A8F9-4657-BEDD-69DBD6A2190B}" dt="2023-02-09T04:58:08.311" v="2942" actId="1037"/>
          <ac:picMkLst>
            <pc:docMk/>
            <pc:sldMk cId="2884242161" sldId="2147470146"/>
            <ac:picMk id="58" creationId="{54285FF7-DA70-B78F-0272-6C61DA077B49}"/>
          </ac:picMkLst>
        </pc:picChg>
        <pc:picChg chg="add mod">
          <ac:chgData name="Votana Srey" userId="13bee0a8-d205-440d-95f7-48959fdcf002" providerId="ADAL" clId="{0D44528D-A8F9-4657-BEDD-69DBD6A2190B}" dt="2023-02-10T01:38:35.245" v="3007" actId="1076"/>
          <ac:picMkLst>
            <pc:docMk/>
            <pc:sldMk cId="2884242161" sldId="2147470146"/>
            <ac:picMk id="63" creationId="{2606C88F-B675-A3D2-2F88-4F740F0CE704}"/>
          </ac:picMkLst>
        </pc:picChg>
        <pc:picChg chg="add mod">
          <ac:chgData name="Votana Srey" userId="13bee0a8-d205-440d-95f7-48959fdcf002" providerId="ADAL" clId="{0D44528D-A8F9-4657-BEDD-69DBD6A2190B}" dt="2023-02-10T01:38:35.245" v="3007" actId="1076"/>
          <ac:picMkLst>
            <pc:docMk/>
            <pc:sldMk cId="2884242161" sldId="2147470146"/>
            <ac:picMk id="66" creationId="{5D00FC7E-5A56-42D9-0F70-971791ED03EC}"/>
          </ac:picMkLst>
        </pc:picChg>
        <pc:picChg chg="add del mod">
          <ac:chgData name="Votana Srey" userId="13bee0a8-d205-440d-95f7-48959fdcf002" providerId="ADAL" clId="{0D44528D-A8F9-4657-BEDD-69DBD6A2190B}" dt="2023-02-09T04:58:42.796" v="2963" actId="478"/>
          <ac:picMkLst>
            <pc:docMk/>
            <pc:sldMk cId="2884242161" sldId="2147470146"/>
            <ac:picMk id="68" creationId="{0F3FC0A5-3111-E29F-20EB-BBF5C3736517}"/>
          </ac:picMkLst>
        </pc:picChg>
        <pc:picChg chg="add mod">
          <ac:chgData name="Votana Srey" userId="13bee0a8-d205-440d-95f7-48959fdcf002" providerId="ADAL" clId="{0D44528D-A8F9-4657-BEDD-69DBD6A2190B}" dt="2023-02-10T01:39:09.826" v="3009" actId="1076"/>
          <ac:picMkLst>
            <pc:docMk/>
            <pc:sldMk cId="2884242161" sldId="2147470146"/>
            <ac:picMk id="72" creationId="{D9CAF861-5F4A-6B7F-9CE0-0B0E0F64A519}"/>
          </ac:picMkLst>
        </pc:picChg>
        <pc:cxnChg chg="del mod">
          <ac:chgData name="Votana Srey" userId="13bee0a8-d205-440d-95f7-48959fdcf002" providerId="ADAL" clId="{0D44528D-A8F9-4657-BEDD-69DBD6A2190B}" dt="2023-02-09T04:50:58.933" v="2811" actId="478"/>
          <ac:cxnSpMkLst>
            <pc:docMk/>
            <pc:sldMk cId="2884242161" sldId="2147470146"/>
            <ac:cxnSpMk id="49" creationId="{F1352309-5335-CB7F-96FA-ADD2F5AA395A}"/>
          </ac:cxnSpMkLst>
        </pc:cxnChg>
      </pc:sldChg>
      <pc:sldChg chg="addSp delSp modSp add mod">
        <pc:chgData name="Votana Srey" userId="13bee0a8-d205-440d-95f7-48959fdcf002" providerId="ADAL" clId="{0D44528D-A8F9-4657-BEDD-69DBD6A2190B}" dt="2023-02-13T06:02:54.273" v="3713" actId="1076"/>
        <pc:sldMkLst>
          <pc:docMk/>
          <pc:sldMk cId="3742971938" sldId="2147470147"/>
        </pc:sldMkLst>
        <pc:spChg chg="add mod">
          <ac:chgData name="Votana Srey" userId="13bee0a8-d205-440d-95f7-48959fdcf002" providerId="ADAL" clId="{0D44528D-A8F9-4657-BEDD-69DBD6A2190B}" dt="2023-02-13T06:02:54.273" v="3713" actId="1076"/>
          <ac:spMkLst>
            <pc:docMk/>
            <pc:sldMk cId="3742971938" sldId="2147470147"/>
            <ac:spMk id="2" creationId="{82E916DE-D5D5-D727-5B85-18430424F92F}"/>
          </ac:spMkLst>
        </pc:spChg>
        <pc:spChg chg="add mod">
          <ac:chgData name="Votana Srey" userId="13bee0a8-d205-440d-95f7-48959fdcf002" providerId="ADAL" clId="{0D44528D-A8F9-4657-BEDD-69DBD6A2190B}" dt="2023-02-13T06:02:54.273" v="3713" actId="1076"/>
          <ac:spMkLst>
            <pc:docMk/>
            <pc:sldMk cId="3742971938" sldId="2147470147"/>
            <ac:spMk id="4" creationId="{5BA3CD8F-30D4-6404-8130-8A976E62313A}"/>
          </ac:spMkLst>
        </pc:spChg>
        <pc:spChg chg="add mod">
          <ac:chgData name="Votana Srey" userId="13bee0a8-d205-440d-95f7-48959fdcf002" providerId="ADAL" clId="{0D44528D-A8F9-4657-BEDD-69DBD6A2190B}" dt="2023-02-13T06:02:54.273" v="3713" actId="1076"/>
          <ac:spMkLst>
            <pc:docMk/>
            <pc:sldMk cId="3742971938" sldId="2147470147"/>
            <ac:spMk id="7" creationId="{93497556-A39E-C9F6-CA31-642D326E8228}"/>
          </ac:spMkLst>
        </pc:spChg>
        <pc:spChg chg="add mod">
          <ac:chgData name="Votana Srey" userId="13bee0a8-d205-440d-95f7-48959fdcf002" providerId="ADAL" clId="{0D44528D-A8F9-4657-BEDD-69DBD6A2190B}" dt="2023-02-13T06:02:54.273" v="3713" actId="1076"/>
          <ac:spMkLst>
            <pc:docMk/>
            <pc:sldMk cId="3742971938" sldId="2147470147"/>
            <ac:spMk id="8" creationId="{4B0BD1B3-6589-271C-8A64-F78B6FC18E0C}"/>
          </ac:spMkLst>
        </pc:spChg>
        <pc:spChg chg="add mod">
          <ac:chgData name="Votana Srey" userId="13bee0a8-d205-440d-95f7-48959fdcf002" providerId="ADAL" clId="{0D44528D-A8F9-4657-BEDD-69DBD6A2190B}" dt="2023-02-13T06:02:54.273" v="3713" actId="1076"/>
          <ac:spMkLst>
            <pc:docMk/>
            <pc:sldMk cId="3742971938" sldId="2147470147"/>
            <ac:spMk id="10" creationId="{C41D776F-CBA1-7D80-6795-71FB18946218}"/>
          </ac:spMkLst>
        </pc:spChg>
        <pc:spChg chg="add mod">
          <ac:chgData name="Votana Srey" userId="13bee0a8-d205-440d-95f7-48959fdcf002" providerId="ADAL" clId="{0D44528D-A8F9-4657-BEDD-69DBD6A2190B}" dt="2023-02-13T06:02:54.273" v="3713" actId="1076"/>
          <ac:spMkLst>
            <pc:docMk/>
            <pc:sldMk cId="3742971938" sldId="2147470147"/>
            <ac:spMk id="11" creationId="{EE22FC85-1F41-F714-EBFE-84A3B7736281}"/>
          </ac:spMkLst>
        </pc:spChg>
        <pc:spChg chg="add mod">
          <ac:chgData name="Votana Srey" userId="13bee0a8-d205-440d-95f7-48959fdcf002" providerId="ADAL" clId="{0D44528D-A8F9-4657-BEDD-69DBD6A2190B}" dt="2023-02-13T06:02:54.273" v="3713" actId="1076"/>
          <ac:spMkLst>
            <pc:docMk/>
            <pc:sldMk cId="3742971938" sldId="2147470147"/>
            <ac:spMk id="12" creationId="{15345C60-208B-BA57-3184-D3C231BF9057}"/>
          </ac:spMkLst>
        </pc:spChg>
        <pc:spChg chg="add mod">
          <ac:chgData name="Votana Srey" userId="13bee0a8-d205-440d-95f7-48959fdcf002" providerId="ADAL" clId="{0D44528D-A8F9-4657-BEDD-69DBD6A2190B}" dt="2023-02-13T06:02:54.273" v="3713" actId="1076"/>
          <ac:spMkLst>
            <pc:docMk/>
            <pc:sldMk cId="3742971938" sldId="2147470147"/>
            <ac:spMk id="13" creationId="{178CC533-431A-047A-9701-144270640A84}"/>
          </ac:spMkLst>
        </pc:spChg>
        <pc:spChg chg="del">
          <ac:chgData name="Votana Srey" userId="13bee0a8-d205-440d-95f7-48959fdcf002" providerId="ADAL" clId="{0D44528D-A8F9-4657-BEDD-69DBD6A2190B}" dt="2023-02-13T03:29:42.492" v="3024" actId="478"/>
          <ac:spMkLst>
            <pc:docMk/>
            <pc:sldMk cId="3742971938" sldId="2147470147"/>
            <ac:spMk id="14" creationId="{388CAE5D-30C6-B3FC-DCA6-F3BBF9746C2C}"/>
          </ac:spMkLst>
        </pc:spChg>
        <pc:spChg chg="add mod">
          <ac:chgData name="Votana Srey" userId="13bee0a8-d205-440d-95f7-48959fdcf002" providerId="ADAL" clId="{0D44528D-A8F9-4657-BEDD-69DBD6A2190B}" dt="2023-02-13T06:02:54.273" v="3713" actId="1076"/>
          <ac:spMkLst>
            <pc:docMk/>
            <pc:sldMk cId="3742971938" sldId="2147470147"/>
            <ac:spMk id="15" creationId="{12800822-DBF9-48DF-0E3C-75DDBB1A562A}"/>
          </ac:spMkLst>
        </pc:spChg>
        <pc:spChg chg="add del mod">
          <ac:chgData name="Votana Srey" userId="13bee0a8-d205-440d-95f7-48959fdcf002" providerId="ADAL" clId="{0D44528D-A8F9-4657-BEDD-69DBD6A2190B}" dt="2023-02-13T03:51:44.315" v="3255" actId="478"/>
          <ac:spMkLst>
            <pc:docMk/>
            <pc:sldMk cId="3742971938" sldId="2147470147"/>
            <ac:spMk id="16" creationId="{4A10BCF2-E313-FD0A-0AA4-FD3568DA93B9}"/>
          </ac:spMkLst>
        </pc:spChg>
        <pc:spChg chg="add mod">
          <ac:chgData name="Votana Srey" userId="13bee0a8-d205-440d-95f7-48959fdcf002" providerId="ADAL" clId="{0D44528D-A8F9-4657-BEDD-69DBD6A2190B}" dt="2023-02-13T06:02:54.273" v="3713" actId="1076"/>
          <ac:spMkLst>
            <pc:docMk/>
            <pc:sldMk cId="3742971938" sldId="2147470147"/>
            <ac:spMk id="17" creationId="{D06714C0-8035-E29A-917B-16554B0B9F9B}"/>
          </ac:spMkLst>
        </pc:spChg>
        <pc:spChg chg="add mod">
          <ac:chgData name="Votana Srey" userId="13bee0a8-d205-440d-95f7-48959fdcf002" providerId="ADAL" clId="{0D44528D-A8F9-4657-BEDD-69DBD6A2190B}" dt="2023-02-13T06:02:54.273" v="3713" actId="1076"/>
          <ac:spMkLst>
            <pc:docMk/>
            <pc:sldMk cId="3742971938" sldId="2147470147"/>
            <ac:spMk id="18" creationId="{E000606E-A990-AF2E-E803-68681E847B6C}"/>
          </ac:spMkLst>
        </pc:spChg>
        <pc:spChg chg="add mod">
          <ac:chgData name="Votana Srey" userId="13bee0a8-d205-440d-95f7-48959fdcf002" providerId="ADAL" clId="{0D44528D-A8F9-4657-BEDD-69DBD6A2190B}" dt="2023-02-13T06:02:54.273" v="3713" actId="1076"/>
          <ac:spMkLst>
            <pc:docMk/>
            <pc:sldMk cId="3742971938" sldId="2147470147"/>
            <ac:spMk id="19" creationId="{60D138F8-BD91-04C7-D744-0F5268EF0EBB}"/>
          </ac:spMkLst>
        </pc:spChg>
        <pc:spChg chg="add mod">
          <ac:chgData name="Votana Srey" userId="13bee0a8-d205-440d-95f7-48959fdcf002" providerId="ADAL" clId="{0D44528D-A8F9-4657-BEDD-69DBD6A2190B}" dt="2023-02-13T06:02:54.273" v="3713" actId="1076"/>
          <ac:spMkLst>
            <pc:docMk/>
            <pc:sldMk cId="3742971938" sldId="2147470147"/>
            <ac:spMk id="20" creationId="{999CBAD0-2146-0190-412F-3794E4AE91FE}"/>
          </ac:spMkLst>
        </pc:spChg>
        <pc:spChg chg="add mod">
          <ac:chgData name="Votana Srey" userId="13bee0a8-d205-440d-95f7-48959fdcf002" providerId="ADAL" clId="{0D44528D-A8F9-4657-BEDD-69DBD6A2190B}" dt="2023-02-13T06:02:54.273" v="3713" actId="1076"/>
          <ac:spMkLst>
            <pc:docMk/>
            <pc:sldMk cId="3742971938" sldId="2147470147"/>
            <ac:spMk id="21" creationId="{7339EDFD-58AC-9570-B3E5-09556D86891D}"/>
          </ac:spMkLst>
        </pc:spChg>
        <pc:spChg chg="add mod">
          <ac:chgData name="Votana Srey" userId="13bee0a8-d205-440d-95f7-48959fdcf002" providerId="ADAL" clId="{0D44528D-A8F9-4657-BEDD-69DBD6A2190B}" dt="2023-02-13T06:02:54.273" v="3713" actId="1076"/>
          <ac:spMkLst>
            <pc:docMk/>
            <pc:sldMk cId="3742971938" sldId="2147470147"/>
            <ac:spMk id="22" creationId="{3D47F833-1B2F-9086-C1E8-53C90B977603}"/>
          </ac:spMkLst>
        </pc:spChg>
        <pc:spChg chg="add mod">
          <ac:chgData name="Votana Srey" userId="13bee0a8-d205-440d-95f7-48959fdcf002" providerId="ADAL" clId="{0D44528D-A8F9-4657-BEDD-69DBD6A2190B}" dt="2023-02-13T06:02:54.273" v="3713" actId="1076"/>
          <ac:spMkLst>
            <pc:docMk/>
            <pc:sldMk cId="3742971938" sldId="2147470147"/>
            <ac:spMk id="23" creationId="{37FDAD41-331F-B844-5C4E-75297F8CD6CC}"/>
          </ac:spMkLst>
        </pc:spChg>
        <pc:spChg chg="del">
          <ac:chgData name="Votana Srey" userId="13bee0a8-d205-440d-95f7-48959fdcf002" providerId="ADAL" clId="{0D44528D-A8F9-4657-BEDD-69DBD6A2190B}" dt="2023-02-13T03:29:42.492" v="3024" actId="478"/>
          <ac:spMkLst>
            <pc:docMk/>
            <pc:sldMk cId="3742971938" sldId="2147470147"/>
            <ac:spMk id="36" creationId="{AD15B592-02EE-9EA2-9CE0-667922F19B55}"/>
          </ac:spMkLst>
        </pc:spChg>
        <pc:spChg chg="add mod">
          <ac:chgData name="Votana Srey" userId="13bee0a8-d205-440d-95f7-48959fdcf002" providerId="ADAL" clId="{0D44528D-A8F9-4657-BEDD-69DBD6A2190B}" dt="2023-02-13T06:02:54.273" v="3713" actId="1076"/>
          <ac:spMkLst>
            <pc:docMk/>
            <pc:sldMk cId="3742971938" sldId="2147470147"/>
            <ac:spMk id="37" creationId="{07BEEF89-D708-908C-EE6B-ADC92B00C7C6}"/>
          </ac:spMkLst>
        </pc:spChg>
        <pc:spChg chg="add mod">
          <ac:chgData name="Votana Srey" userId="13bee0a8-d205-440d-95f7-48959fdcf002" providerId="ADAL" clId="{0D44528D-A8F9-4657-BEDD-69DBD6A2190B}" dt="2023-02-13T06:02:54.273" v="3713" actId="1076"/>
          <ac:spMkLst>
            <pc:docMk/>
            <pc:sldMk cId="3742971938" sldId="2147470147"/>
            <ac:spMk id="38" creationId="{CE7960B9-1064-469B-3E24-9FCCCDD307C8}"/>
          </ac:spMkLst>
        </pc:spChg>
        <pc:spChg chg="add del mod">
          <ac:chgData name="Votana Srey" userId="13bee0a8-d205-440d-95f7-48959fdcf002" providerId="ADAL" clId="{0D44528D-A8F9-4657-BEDD-69DBD6A2190B}" dt="2023-02-13T06:02:54.273" v="3713" actId="1076"/>
          <ac:spMkLst>
            <pc:docMk/>
            <pc:sldMk cId="3742971938" sldId="2147470147"/>
            <ac:spMk id="39" creationId="{397BCB01-5267-426A-18EB-9992804F49D0}"/>
          </ac:spMkLst>
        </pc:spChg>
        <pc:spChg chg="add mod">
          <ac:chgData name="Votana Srey" userId="13bee0a8-d205-440d-95f7-48959fdcf002" providerId="ADAL" clId="{0D44528D-A8F9-4657-BEDD-69DBD6A2190B}" dt="2023-02-13T06:02:54.273" v="3713" actId="1076"/>
          <ac:spMkLst>
            <pc:docMk/>
            <pc:sldMk cId="3742971938" sldId="2147470147"/>
            <ac:spMk id="40" creationId="{25643728-370C-A91D-DDC2-6D3CEF4F76BA}"/>
          </ac:spMkLst>
        </pc:spChg>
        <pc:spChg chg="add mod">
          <ac:chgData name="Votana Srey" userId="13bee0a8-d205-440d-95f7-48959fdcf002" providerId="ADAL" clId="{0D44528D-A8F9-4657-BEDD-69DBD6A2190B}" dt="2023-02-13T06:02:54.273" v="3713" actId="1076"/>
          <ac:spMkLst>
            <pc:docMk/>
            <pc:sldMk cId="3742971938" sldId="2147470147"/>
            <ac:spMk id="41" creationId="{7ECEB35B-0225-EB5A-D125-C820EC365CBA}"/>
          </ac:spMkLst>
        </pc:spChg>
        <pc:spChg chg="add del mod">
          <ac:chgData name="Votana Srey" userId="13bee0a8-d205-440d-95f7-48959fdcf002" providerId="ADAL" clId="{0D44528D-A8F9-4657-BEDD-69DBD6A2190B}" dt="2023-02-13T04:02:12.505" v="3528" actId="478"/>
          <ac:spMkLst>
            <pc:docMk/>
            <pc:sldMk cId="3742971938" sldId="2147470147"/>
            <ac:spMk id="42" creationId="{C17789E1-EE9F-37AE-60C0-9907C25058BD}"/>
          </ac:spMkLst>
        </pc:spChg>
        <pc:spChg chg="add mod">
          <ac:chgData name="Votana Srey" userId="13bee0a8-d205-440d-95f7-48959fdcf002" providerId="ADAL" clId="{0D44528D-A8F9-4657-BEDD-69DBD6A2190B}" dt="2023-02-13T06:02:54.273" v="3713" actId="1076"/>
          <ac:spMkLst>
            <pc:docMk/>
            <pc:sldMk cId="3742971938" sldId="2147470147"/>
            <ac:spMk id="43" creationId="{2CA5FA03-92C6-4800-05D8-48E3FF580AA7}"/>
          </ac:spMkLst>
        </pc:spChg>
        <pc:spChg chg="add mod">
          <ac:chgData name="Votana Srey" userId="13bee0a8-d205-440d-95f7-48959fdcf002" providerId="ADAL" clId="{0D44528D-A8F9-4657-BEDD-69DBD6A2190B}" dt="2023-02-13T06:02:54.273" v="3713" actId="1076"/>
          <ac:spMkLst>
            <pc:docMk/>
            <pc:sldMk cId="3742971938" sldId="2147470147"/>
            <ac:spMk id="44" creationId="{5AFCA3C8-0146-5B8A-54DE-FC9F7E41190A}"/>
          </ac:spMkLst>
        </pc:spChg>
        <pc:spChg chg="del">
          <ac:chgData name="Votana Srey" userId="13bee0a8-d205-440d-95f7-48959fdcf002" providerId="ADAL" clId="{0D44528D-A8F9-4657-BEDD-69DBD6A2190B}" dt="2023-02-13T03:29:42.492" v="3024" actId="478"/>
          <ac:spMkLst>
            <pc:docMk/>
            <pc:sldMk cId="3742971938" sldId="2147470147"/>
            <ac:spMk id="51" creationId="{104AA0CC-FDDA-2ADA-3BDB-A6E047237F43}"/>
          </ac:spMkLst>
        </pc:spChg>
        <pc:spChg chg="del">
          <ac:chgData name="Votana Srey" userId="13bee0a8-d205-440d-95f7-48959fdcf002" providerId="ADAL" clId="{0D44528D-A8F9-4657-BEDD-69DBD6A2190B}" dt="2023-02-13T03:29:42.492" v="3024" actId="478"/>
          <ac:spMkLst>
            <pc:docMk/>
            <pc:sldMk cId="3742971938" sldId="2147470147"/>
            <ac:spMk id="59" creationId="{45330BCF-91B9-3BAA-10DE-5CE014D15438}"/>
          </ac:spMkLst>
        </pc:spChg>
        <pc:spChg chg="del">
          <ac:chgData name="Votana Srey" userId="13bee0a8-d205-440d-95f7-48959fdcf002" providerId="ADAL" clId="{0D44528D-A8F9-4657-BEDD-69DBD6A2190B}" dt="2023-02-13T03:29:42.492" v="3024" actId="478"/>
          <ac:spMkLst>
            <pc:docMk/>
            <pc:sldMk cId="3742971938" sldId="2147470147"/>
            <ac:spMk id="60" creationId="{4CBE2AD4-5F64-EC2F-41E4-FDB72A634D35}"/>
          </ac:spMkLst>
        </pc:spChg>
        <pc:spChg chg="del">
          <ac:chgData name="Votana Srey" userId="13bee0a8-d205-440d-95f7-48959fdcf002" providerId="ADAL" clId="{0D44528D-A8F9-4657-BEDD-69DBD6A2190B}" dt="2023-02-13T03:29:42.492" v="3024" actId="478"/>
          <ac:spMkLst>
            <pc:docMk/>
            <pc:sldMk cId="3742971938" sldId="2147470147"/>
            <ac:spMk id="61" creationId="{7AA1EB47-C58D-92E4-270E-AACF64797946}"/>
          </ac:spMkLst>
        </pc:spChg>
        <pc:spChg chg="del">
          <ac:chgData name="Votana Srey" userId="13bee0a8-d205-440d-95f7-48959fdcf002" providerId="ADAL" clId="{0D44528D-A8F9-4657-BEDD-69DBD6A2190B}" dt="2023-02-13T03:29:42.492" v="3024" actId="478"/>
          <ac:spMkLst>
            <pc:docMk/>
            <pc:sldMk cId="3742971938" sldId="2147470147"/>
            <ac:spMk id="62" creationId="{C0830C9B-A823-8465-965B-8FED1C8F4DC6}"/>
          </ac:spMkLst>
        </pc:spChg>
        <pc:spChg chg="del">
          <ac:chgData name="Votana Srey" userId="13bee0a8-d205-440d-95f7-48959fdcf002" providerId="ADAL" clId="{0D44528D-A8F9-4657-BEDD-69DBD6A2190B}" dt="2023-02-13T03:29:42.492" v="3024" actId="478"/>
          <ac:spMkLst>
            <pc:docMk/>
            <pc:sldMk cId="3742971938" sldId="2147470147"/>
            <ac:spMk id="64" creationId="{1DB7810C-484B-FA6A-4802-704E9CFF88FB}"/>
          </ac:spMkLst>
        </pc:spChg>
        <pc:spChg chg="del">
          <ac:chgData name="Votana Srey" userId="13bee0a8-d205-440d-95f7-48959fdcf002" providerId="ADAL" clId="{0D44528D-A8F9-4657-BEDD-69DBD6A2190B}" dt="2023-02-13T03:29:42.492" v="3024" actId="478"/>
          <ac:spMkLst>
            <pc:docMk/>
            <pc:sldMk cId="3742971938" sldId="2147470147"/>
            <ac:spMk id="65" creationId="{1C305A3B-4605-7164-8B86-D9AF44264621}"/>
          </ac:spMkLst>
        </pc:spChg>
        <pc:spChg chg="del">
          <ac:chgData name="Votana Srey" userId="13bee0a8-d205-440d-95f7-48959fdcf002" providerId="ADAL" clId="{0D44528D-A8F9-4657-BEDD-69DBD6A2190B}" dt="2023-02-13T03:29:42.492" v="3024" actId="478"/>
          <ac:spMkLst>
            <pc:docMk/>
            <pc:sldMk cId="3742971938" sldId="2147470147"/>
            <ac:spMk id="67" creationId="{5A03BB4C-3C0F-E535-3DC4-49030D36A070}"/>
          </ac:spMkLst>
        </pc:spChg>
        <pc:spChg chg="del">
          <ac:chgData name="Votana Srey" userId="13bee0a8-d205-440d-95f7-48959fdcf002" providerId="ADAL" clId="{0D44528D-A8F9-4657-BEDD-69DBD6A2190B}" dt="2023-02-13T03:29:42.492" v="3024" actId="478"/>
          <ac:spMkLst>
            <pc:docMk/>
            <pc:sldMk cId="3742971938" sldId="2147470147"/>
            <ac:spMk id="70" creationId="{4A2D91F9-BBD6-64CD-FB9A-77161598FA08}"/>
          </ac:spMkLst>
        </pc:spChg>
        <pc:spChg chg="del">
          <ac:chgData name="Votana Srey" userId="13bee0a8-d205-440d-95f7-48959fdcf002" providerId="ADAL" clId="{0D44528D-A8F9-4657-BEDD-69DBD6A2190B}" dt="2023-02-13T03:29:42.492" v="3024" actId="478"/>
          <ac:spMkLst>
            <pc:docMk/>
            <pc:sldMk cId="3742971938" sldId="2147470147"/>
            <ac:spMk id="71" creationId="{E5B27E03-92BF-926C-5E71-224A18AAF985}"/>
          </ac:spMkLst>
        </pc:spChg>
        <pc:spChg chg="del">
          <ac:chgData name="Votana Srey" userId="13bee0a8-d205-440d-95f7-48959fdcf002" providerId="ADAL" clId="{0D44528D-A8F9-4657-BEDD-69DBD6A2190B}" dt="2023-02-13T03:29:42.492" v="3024" actId="478"/>
          <ac:spMkLst>
            <pc:docMk/>
            <pc:sldMk cId="3742971938" sldId="2147470147"/>
            <ac:spMk id="73" creationId="{BEDC7E70-3BB5-7464-1A49-5C0437833733}"/>
          </ac:spMkLst>
        </pc:spChg>
        <pc:spChg chg="add mod">
          <ac:chgData name="Votana Srey" userId="13bee0a8-d205-440d-95f7-48959fdcf002" providerId="ADAL" clId="{0D44528D-A8F9-4657-BEDD-69DBD6A2190B}" dt="2023-02-13T06:02:54.273" v="3713" actId="1076"/>
          <ac:spMkLst>
            <pc:docMk/>
            <pc:sldMk cId="3742971938" sldId="2147470147"/>
            <ac:spMk id="129" creationId="{2E3A5F2D-B968-F95D-D8B2-8E8B9EF7D59B}"/>
          </ac:spMkLst>
        </pc:spChg>
        <pc:spChg chg="add mod">
          <ac:chgData name="Votana Srey" userId="13bee0a8-d205-440d-95f7-48959fdcf002" providerId="ADAL" clId="{0D44528D-A8F9-4657-BEDD-69DBD6A2190B}" dt="2023-02-13T06:02:54.273" v="3713" actId="1076"/>
          <ac:spMkLst>
            <pc:docMk/>
            <pc:sldMk cId="3742971938" sldId="2147470147"/>
            <ac:spMk id="130" creationId="{7EEBC4F4-405D-3A95-798F-63408B023732}"/>
          </ac:spMkLst>
        </pc:spChg>
        <pc:spChg chg="add mod">
          <ac:chgData name="Votana Srey" userId="13bee0a8-d205-440d-95f7-48959fdcf002" providerId="ADAL" clId="{0D44528D-A8F9-4657-BEDD-69DBD6A2190B}" dt="2023-02-13T06:02:54.273" v="3713" actId="1076"/>
          <ac:spMkLst>
            <pc:docMk/>
            <pc:sldMk cId="3742971938" sldId="2147470147"/>
            <ac:spMk id="131" creationId="{E5B302FD-96AE-8E39-F82E-11F92836B4EB}"/>
          </ac:spMkLst>
        </pc:spChg>
        <pc:spChg chg="add mod">
          <ac:chgData name="Votana Srey" userId="13bee0a8-d205-440d-95f7-48959fdcf002" providerId="ADAL" clId="{0D44528D-A8F9-4657-BEDD-69DBD6A2190B}" dt="2023-02-13T06:02:54.273" v="3713" actId="1076"/>
          <ac:spMkLst>
            <pc:docMk/>
            <pc:sldMk cId="3742971938" sldId="2147470147"/>
            <ac:spMk id="149" creationId="{A047C9B1-B1C6-1626-3926-6A234B6D2279}"/>
          </ac:spMkLst>
        </pc:spChg>
        <pc:spChg chg="add mod">
          <ac:chgData name="Votana Srey" userId="13bee0a8-d205-440d-95f7-48959fdcf002" providerId="ADAL" clId="{0D44528D-A8F9-4657-BEDD-69DBD6A2190B}" dt="2023-02-13T06:02:54.273" v="3713" actId="1076"/>
          <ac:spMkLst>
            <pc:docMk/>
            <pc:sldMk cId="3742971938" sldId="2147470147"/>
            <ac:spMk id="152" creationId="{1D557021-53F7-2BF0-BA4A-8EB729183EB0}"/>
          </ac:spMkLst>
        </pc:spChg>
        <pc:grpChg chg="del">
          <ac:chgData name="Votana Srey" userId="13bee0a8-d205-440d-95f7-48959fdcf002" providerId="ADAL" clId="{0D44528D-A8F9-4657-BEDD-69DBD6A2190B}" dt="2023-02-13T03:29:42.492" v="3024" actId="478"/>
          <ac:grpSpMkLst>
            <pc:docMk/>
            <pc:sldMk cId="3742971938" sldId="2147470147"/>
            <ac:grpSpMk id="24" creationId="{7014BE07-7597-720B-E330-B697577FB88C}"/>
          </ac:grpSpMkLst>
        </pc:grpChg>
        <pc:picChg chg="del">
          <ac:chgData name="Votana Srey" userId="13bee0a8-d205-440d-95f7-48959fdcf002" providerId="ADAL" clId="{0D44528D-A8F9-4657-BEDD-69DBD6A2190B}" dt="2023-02-13T03:29:42.492" v="3024" actId="478"/>
          <ac:picMkLst>
            <pc:docMk/>
            <pc:sldMk cId="3742971938" sldId="2147470147"/>
            <ac:picMk id="9" creationId="{BF1C81EF-1290-703C-D456-62D1E5DD74A8}"/>
          </ac:picMkLst>
        </pc:picChg>
        <pc:picChg chg="del">
          <ac:chgData name="Votana Srey" userId="13bee0a8-d205-440d-95f7-48959fdcf002" providerId="ADAL" clId="{0D44528D-A8F9-4657-BEDD-69DBD6A2190B}" dt="2023-02-13T03:29:42.492" v="3024" actId="478"/>
          <ac:picMkLst>
            <pc:docMk/>
            <pc:sldMk cId="3742971938" sldId="2147470147"/>
            <ac:picMk id="50" creationId="{09ED17A7-187B-792F-1F6E-961906B9097F}"/>
          </ac:picMkLst>
        </pc:picChg>
        <pc:picChg chg="del">
          <ac:chgData name="Votana Srey" userId="13bee0a8-d205-440d-95f7-48959fdcf002" providerId="ADAL" clId="{0D44528D-A8F9-4657-BEDD-69DBD6A2190B}" dt="2023-02-13T03:29:42.492" v="3024" actId="478"/>
          <ac:picMkLst>
            <pc:docMk/>
            <pc:sldMk cId="3742971938" sldId="2147470147"/>
            <ac:picMk id="58" creationId="{54285FF7-DA70-B78F-0272-6C61DA077B49}"/>
          </ac:picMkLst>
        </pc:picChg>
        <pc:picChg chg="del">
          <ac:chgData name="Votana Srey" userId="13bee0a8-d205-440d-95f7-48959fdcf002" providerId="ADAL" clId="{0D44528D-A8F9-4657-BEDD-69DBD6A2190B}" dt="2023-02-13T03:29:42.492" v="3024" actId="478"/>
          <ac:picMkLst>
            <pc:docMk/>
            <pc:sldMk cId="3742971938" sldId="2147470147"/>
            <ac:picMk id="63" creationId="{2606C88F-B675-A3D2-2F88-4F740F0CE704}"/>
          </ac:picMkLst>
        </pc:picChg>
        <pc:picChg chg="del">
          <ac:chgData name="Votana Srey" userId="13bee0a8-d205-440d-95f7-48959fdcf002" providerId="ADAL" clId="{0D44528D-A8F9-4657-BEDD-69DBD6A2190B}" dt="2023-02-13T03:29:42.492" v="3024" actId="478"/>
          <ac:picMkLst>
            <pc:docMk/>
            <pc:sldMk cId="3742971938" sldId="2147470147"/>
            <ac:picMk id="66" creationId="{5D00FC7E-5A56-42D9-0F70-971791ED03EC}"/>
          </ac:picMkLst>
        </pc:picChg>
        <pc:picChg chg="del">
          <ac:chgData name="Votana Srey" userId="13bee0a8-d205-440d-95f7-48959fdcf002" providerId="ADAL" clId="{0D44528D-A8F9-4657-BEDD-69DBD6A2190B}" dt="2023-02-13T03:29:42.492" v="3024" actId="478"/>
          <ac:picMkLst>
            <pc:docMk/>
            <pc:sldMk cId="3742971938" sldId="2147470147"/>
            <ac:picMk id="72" creationId="{D9CAF861-5F4A-6B7F-9CE0-0B0E0F64A519}"/>
          </ac:picMkLst>
        </pc:picChg>
        <pc:cxnChg chg="add mod">
          <ac:chgData name="Votana Srey" userId="13bee0a8-d205-440d-95f7-48959fdcf002" providerId="ADAL" clId="{0D44528D-A8F9-4657-BEDD-69DBD6A2190B}" dt="2023-02-13T06:02:54.273" v="3713" actId="1076"/>
          <ac:cxnSpMkLst>
            <pc:docMk/>
            <pc:sldMk cId="3742971938" sldId="2147470147"/>
            <ac:cxnSpMk id="46" creationId="{602F906D-80C7-7D46-5BA1-BF7D0A0749FB}"/>
          </ac:cxnSpMkLst>
        </pc:cxnChg>
        <pc:cxnChg chg="add mod">
          <ac:chgData name="Votana Srey" userId="13bee0a8-d205-440d-95f7-48959fdcf002" providerId="ADAL" clId="{0D44528D-A8F9-4657-BEDD-69DBD6A2190B}" dt="2023-02-13T06:02:54.273" v="3713" actId="1076"/>
          <ac:cxnSpMkLst>
            <pc:docMk/>
            <pc:sldMk cId="3742971938" sldId="2147470147"/>
            <ac:cxnSpMk id="49" creationId="{7E9A6057-053C-9FC0-A8ED-20057A897CD7}"/>
          </ac:cxnSpMkLst>
        </pc:cxnChg>
        <pc:cxnChg chg="add del mod">
          <ac:chgData name="Votana Srey" userId="13bee0a8-d205-440d-95f7-48959fdcf002" providerId="ADAL" clId="{0D44528D-A8F9-4657-BEDD-69DBD6A2190B}" dt="2023-02-13T04:05:01.233" v="3585" actId="478"/>
          <ac:cxnSpMkLst>
            <pc:docMk/>
            <pc:sldMk cId="3742971938" sldId="2147470147"/>
            <ac:cxnSpMk id="53" creationId="{9A388885-1F17-9D7D-8474-E571FF79A4AA}"/>
          </ac:cxnSpMkLst>
        </pc:cxnChg>
        <pc:cxnChg chg="add mod">
          <ac:chgData name="Votana Srey" userId="13bee0a8-d205-440d-95f7-48959fdcf002" providerId="ADAL" clId="{0D44528D-A8F9-4657-BEDD-69DBD6A2190B}" dt="2023-02-13T06:02:54.273" v="3713" actId="1076"/>
          <ac:cxnSpMkLst>
            <pc:docMk/>
            <pc:sldMk cId="3742971938" sldId="2147470147"/>
            <ac:cxnSpMk id="55" creationId="{8837F632-5276-16D2-A52F-ECA861077AD2}"/>
          </ac:cxnSpMkLst>
        </pc:cxnChg>
        <pc:cxnChg chg="add mod">
          <ac:chgData name="Votana Srey" userId="13bee0a8-d205-440d-95f7-48959fdcf002" providerId="ADAL" clId="{0D44528D-A8F9-4657-BEDD-69DBD6A2190B}" dt="2023-02-13T06:02:54.273" v="3713" actId="1076"/>
          <ac:cxnSpMkLst>
            <pc:docMk/>
            <pc:sldMk cId="3742971938" sldId="2147470147"/>
            <ac:cxnSpMk id="57" creationId="{D28B75DC-A9CB-E728-E157-13918D5DC0B9}"/>
          </ac:cxnSpMkLst>
        </pc:cxnChg>
        <pc:cxnChg chg="add del mod">
          <ac:chgData name="Votana Srey" userId="13bee0a8-d205-440d-95f7-48959fdcf002" providerId="ADAL" clId="{0D44528D-A8F9-4657-BEDD-69DBD6A2190B}" dt="2023-02-13T04:05:28.880" v="3589" actId="11529"/>
          <ac:cxnSpMkLst>
            <pc:docMk/>
            <pc:sldMk cId="3742971938" sldId="2147470147"/>
            <ac:cxnSpMk id="69" creationId="{17B07F58-2F42-FBEF-06DB-6B1D4AE8B5A4}"/>
          </ac:cxnSpMkLst>
        </pc:cxnChg>
        <pc:cxnChg chg="add mod">
          <ac:chgData name="Votana Srey" userId="13bee0a8-d205-440d-95f7-48959fdcf002" providerId="ADAL" clId="{0D44528D-A8F9-4657-BEDD-69DBD6A2190B}" dt="2023-02-13T06:02:54.273" v="3713" actId="1076"/>
          <ac:cxnSpMkLst>
            <pc:docMk/>
            <pc:sldMk cId="3742971938" sldId="2147470147"/>
            <ac:cxnSpMk id="75" creationId="{159E1332-02F0-CD60-1C58-5B2A3CF6E887}"/>
          </ac:cxnSpMkLst>
        </pc:cxnChg>
        <pc:cxnChg chg="add del mod">
          <ac:chgData name="Votana Srey" userId="13bee0a8-d205-440d-95f7-48959fdcf002" providerId="ADAL" clId="{0D44528D-A8F9-4657-BEDD-69DBD6A2190B}" dt="2023-02-13T04:05:40.955" v="3592" actId="11529"/>
          <ac:cxnSpMkLst>
            <pc:docMk/>
            <pc:sldMk cId="3742971938" sldId="2147470147"/>
            <ac:cxnSpMk id="77" creationId="{D9220226-7A3A-BB50-90C9-7F93B3380B6B}"/>
          </ac:cxnSpMkLst>
        </pc:cxnChg>
        <pc:cxnChg chg="add del mod">
          <ac:chgData name="Votana Srey" userId="13bee0a8-d205-440d-95f7-48959fdcf002" providerId="ADAL" clId="{0D44528D-A8F9-4657-BEDD-69DBD6A2190B}" dt="2023-02-13T04:08:48.632" v="3619" actId="478"/>
          <ac:cxnSpMkLst>
            <pc:docMk/>
            <pc:sldMk cId="3742971938" sldId="2147470147"/>
            <ac:cxnSpMk id="79" creationId="{E86741DC-B23A-1511-C1C4-1766AEC2CC0A}"/>
          </ac:cxnSpMkLst>
        </pc:cxnChg>
        <pc:cxnChg chg="add del mod">
          <ac:chgData name="Votana Srey" userId="13bee0a8-d205-440d-95f7-48959fdcf002" providerId="ADAL" clId="{0D44528D-A8F9-4657-BEDD-69DBD6A2190B}" dt="2023-02-13T04:08:52.626" v="3621" actId="478"/>
          <ac:cxnSpMkLst>
            <pc:docMk/>
            <pc:sldMk cId="3742971938" sldId="2147470147"/>
            <ac:cxnSpMk id="81" creationId="{ADD5010C-4983-A2E3-E822-106A62A5826B}"/>
          </ac:cxnSpMkLst>
        </pc:cxnChg>
        <pc:cxnChg chg="add del mod">
          <ac:chgData name="Votana Srey" userId="13bee0a8-d205-440d-95f7-48959fdcf002" providerId="ADAL" clId="{0D44528D-A8F9-4657-BEDD-69DBD6A2190B}" dt="2023-02-13T04:08:50.726" v="3620" actId="478"/>
          <ac:cxnSpMkLst>
            <pc:docMk/>
            <pc:sldMk cId="3742971938" sldId="2147470147"/>
            <ac:cxnSpMk id="83" creationId="{926A50C7-C102-9498-BF75-31343E44F053}"/>
          </ac:cxnSpMkLst>
        </pc:cxnChg>
        <pc:cxnChg chg="add mod">
          <ac:chgData name="Votana Srey" userId="13bee0a8-d205-440d-95f7-48959fdcf002" providerId="ADAL" clId="{0D44528D-A8F9-4657-BEDD-69DBD6A2190B}" dt="2023-02-13T06:02:54.273" v="3713" actId="1076"/>
          <ac:cxnSpMkLst>
            <pc:docMk/>
            <pc:sldMk cId="3742971938" sldId="2147470147"/>
            <ac:cxnSpMk id="85" creationId="{4FDC970F-FA9E-3FAA-C189-C4E16CFA6733}"/>
          </ac:cxnSpMkLst>
        </pc:cxnChg>
        <pc:cxnChg chg="add mod">
          <ac:chgData name="Votana Srey" userId="13bee0a8-d205-440d-95f7-48959fdcf002" providerId="ADAL" clId="{0D44528D-A8F9-4657-BEDD-69DBD6A2190B}" dt="2023-02-13T06:02:54.273" v="3713" actId="1076"/>
          <ac:cxnSpMkLst>
            <pc:docMk/>
            <pc:sldMk cId="3742971938" sldId="2147470147"/>
            <ac:cxnSpMk id="87" creationId="{E3E7B0F8-6D84-8BA0-B161-F9DA6B4C12C9}"/>
          </ac:cxnSpMkLst>
        </pc:cxnChg>
        <pc:cxnChg chg="add del mod">
          <ac:chgData name="Votana Srey" userId="13bee0a8-d205-440d-95f7-48959fdcf002" providerId="ADAL" clId="{0D44528D-A8F9-4657-BEDD-69DBD6A2190B}" dt="2023-02-13T04:09:21.727" v="3625" actId="478"/>
          <ac:cxnSpMkLst>
            <pc:docMk/>
            <pc:sldMk cId="3742971938" sldId="2147470147"/>
            <ac:cxnSpMk id="89" creationId="{7C9C1088-1DEB-E890-23CC-1384D3E7ADAA}"/>
          </ac:cxnSpMkLst>
        </pc:cxnChg>
        <pc:cxnChg chg="add mod">
          <ac:chgData name="Votana Srey" userId="13bee0a8-d205-440d-95f7-48959fdcf002" providerId="ADAL" clId="{0D44528D-A8F9-4657-BEDD-69DBD6A2190B}" dt="2023-02-13T06:02:54.273" v="3713" actId="1076"/>
          <ac:cxnSpMkLst>
            <pc:docMk/>
            <pc:sldMk cId="3742971938" sldId="2147470147"/>
            <ac:cxnSpMk id="91" creationId="{8A759DFB-A41F-0339-404D-DB5E65F76F50}"/>
          </ac:cxnSpMkLst>
        </pc:cxnChg>
        <pc:cxnChg chg="add mod">
          <ac:chgData name="Votana Srey" userId="13bee0a8-d205-440d-95f7-48959fdcf002" providerId="ADAL" clId="{0D44528D-A8F9-4657-BEDD-69DBD6A2190B}" dt="2023-02-13T06:02:54.273" v="3713" actId="1076"/>
          <ac:cxnSpMkLst>
            <pc:docMk/>
            <pc:sldMk cId="3742971938" sldId="2147470147"/>
            <ac:cxnSpMk id="93" creationId="{CF4FE45B-5AB0-8E2B-C53D-4AAB1E6A50CD}"/>
          </ac:cxnSpMkLst>
        </pc:cxnChg>
        <pc:cxnChg chg="add mod">
          <ac:chgData name="Votana Srey" userId="13bee0a8-d205-440d-95f7-48959fdcf002" providerId="ADAL" clId="{0D44528D-A8F9-4657-BEDD-69DBD6A2190B}" dt="2023-02-13T06:02:54.273" v="3713" actId="1076"/>
          <ac:cxnSpMkLst>
            <pc:docMk/>
            <pc:sldMk cId="3742971938" sldId="2147470147"/>
            <ac:cxnSpMk id="95" creationId="{5E271107-10FC-AD66-D2FF-B581A15C8519}"/>
          </ac:cxnSpMkLst>
        </pc:cxnChg>
        <pc:cxnChg chg="add del mod">
          <ac:chgData name="Votana Srey" userId="13bee0a8-d205-440d-95f7-48959fdcf002" providerId="ADAL" clId="{0D44528D-A8F9-4657-BEDD-69DBD6A2190B}" dt="2023-02-13T06:02:54.273" v="3713" actId="1076"/>
          <ac:cxnSpMkLst>
            <pc:docMk/>
            <pc:sldMk cId="3742971938" sldId="2147470147"/>
            <ac:cxnSpMk id="97" creationId="{95503A3F-DA5F-3944-FFBB-131DD05FB143}"/>
          </ac:cxnSpMkLst>
        </pc:cxnChg>
        <pc:cxnChg chg="add mod">
          <ac:chgData name="Votana Srey" userId="13bee0a8-d205-440d-95f7-48959fdcf002" providerId="ADAL" clId="{0D44528D-A8F9-4657-BEDD-69DBD6A2190B}" dt="2023-02-13T06:02:54.273" v="3713" actId="1076"/>
          <ac:cxnSpMkLst>
            <pc:docMk/>
            <pc:sldMk cId="3742971938" sldId="2147470147"/>
            <ac:cxnSpMk id="99" creationId="{66A29047-54B2-5DEB-D798-FD986F15C5BA}"/>
          </ac:cxnSpMkLst>
        </pc:cxnChg>
        <pc:cxnChg chg="add mod">
          <ac:chgData name="Votana Srey" userId="13bee0a8-d205-440d-95f7-48959fdcf002" providerId="ADAL" clId="{0D44528D-A8F9-4657-BEDD-69DBD6A2190B}" dt="2023-02-13T06:02:54.273" v="3713" actId="1076"/>
          <ac:cxnSpMkLst>
            <pc:docMk/>
            <pc:sldMk cId="3742971938" sldId="2147470147"/>
            <ac:cxnSpMk id="101" creationId="{40195256-EC45-D410-0F31-1232A028F394}"/>
          </ac:cxnSpMkLst>
        </pc:cxnChg>
        <pc:cxnChg chg="add del mod">
          <ac:chgData name="Votana Srey" userId="13bee0a8-d205-440d-95f7-48959fdcf002" providerId="ADAL" clId="{0D44528D-A8F9-4657-BEDD-69DBD6A2190B}" dt="2023-02-13T04:07:03.914" v="3606" actId="11529"/>
          <ac:cxnSpMkLst>
            <pc:docMk/>
            <pc:sldMk cId="3742971938" sldId="2147470147"/>
            <ac:cxnSpMk id="103" creationId="{EC3F87E7-74D0-AF7E-596D-87138E3989A6}"/>
          </ac:cxnSpMkLst>
        </pc:cxnChg>
        <pc:cxnChg chg="add mod">
          <ac:chgData name="Votana Srey" userId="13bee0a8-d205-440d-95f7-48959fdcf002" providerId="ADAL" clId="{0D44528D-A8F9-4657-BEDD-69DBD6A2190B}" dt="2023-02-13T06:02:54.273" v="3713" actId="1076"/>
          <ac:cxnSpMkLst>
            <pc:docMk/>
            <pc:sldMk cId="3742971938" sldId="2147470147"/>
            <ac:cxnSpMk id="105" creationId="{BF2C9F42-37FF-FDC8-0265-DF1951938614}"/>
          </ac:cxnSpMkLst>
        </pc:cxnChg>
        <pc:cxnChg chg="add mod">
          <ac:chgData name="Votana Srey" userId="13bee0a8-d205-440d-95f7-48959fdcf002" providerId="ADAL" clId="{0D44528D-A8F9-4657-BEDD-69DBD6A2190B}" dt="2023-02-13T06:02:54.273" v="3713" actId="1076"/>
          <ac:cxnSpMkLst>
            <pc:docMk/>
            <pc:sldMk cId="3742971938" sldId="2147470147"/>
            <ac:cxnSpMk id="107" creationId="{76A463DB-4F61-82E0-9055-1CCECADE86DC}"/>
          </ac:cxnSpMkLst>
        </pc:cxnChg>
        <pc:cxnChg chg="add del mod">
          <ac:chgData name="Votana Srey" userId="13bee0a8-d205-440d-95f7-48959fdcf002" providerId="ADAL" clId="{0D44528D-A8F9-4657-BEDD-69DBD6A2190B}" dt="2023-02-13T04:08:36.600" v="3616" actId="478"/>
          <ac:cxnSpMkLst>
            <pc:docMk/>
            <pc:sldMk cId="3742971938" sldId="2147470147"/>
            <ac:cxnSpMk id="109" creationId="{E352CD61-0B71-DF32-8B63-347121D9EA55}"/>
          </ac:cxnSpMkLst>
        </pc:cxnChg>
        <pc:cxnChg chg="add del mod">
          <ac:chgData name="Votana Srey" userId="13bee0a8-d205-440d-95f7-48959fdcf002" providerId="ADAL" clId="{0D44528D-A8F9-4657-BEDD-69DBD6A2190B}" dt="2023-02-13T04:08:38.333" v="3617" actId="478"/>
          <ac:cxnSpMkLst>
            <pc:docMk/>
            <pc:sldMk cId="3742971938" sldId="2147470147"/>
            <ac:cxnSpMk id="111" creationId="{8AE9103F-EC19-9FEC-2680-B96C322CD564}"/>
          </ac:cxnSpMkLst>
        </pc:cxnChg>
        <pc:cxnChg chg="add del mod">
          <ac:chgData name="Votana Srey" userId="13bee0a8-d205-440d-95f7-48959fdcf002" providerId="ADAL" clId="{0D44528D-A8F9-4657-BEDD-69DBD6A2190B}" dt="2023-02-13T04:08:40.645" v="3618" actId="478"/>
          <ac:cxnSpMkLst>
            <pc:docMk/>
            <pc:sldMk cId="3742971938" sldId="2147470147"/>
            <ac:cxnSpMk id="113" creationId="{B8E52202-879D-A4F0-3B37-FD3B1DD4D873}"/>
          </ac:cxnSpMkLst>
        </pc:cxnChg>
        <pc:cxnChg chg="add mod">
          <ac:chgData name="Votana Srey" userId="13bee0a8-d205-440d-95f7-48959fdcf002" providerId="ADAL" clId="{0D44528D-A8F9-4657-BEDD-69DBD6A2190B}" dt="2023-02-13T06:02:54.273" v="3713" actId="1076"/>
          <ac:cxnSpMkLst>
            <pc:docMk/>
            <pc:sldMk cId="3742971938" sldId="2147470147"/>
            <ac:cxnSpMk id="118" creationId="{C2590C04-CED6-A5D6-57D9-A24CBE97B1A2}"/>
          </ac:cxnSpMkLst>
        </pc:cxnChg>
        <pc:cxnChg chg="add mod">
          <ac:chgData name="Votana Srey" userId="13bee0a8-d205-440d-95f7-48959fdcf002" providerId="ADAL" clId="{0D44528D-A8F9-4657-BEDD-69DBD6A2190B}" dt="2023-02-13T06:02:54.273" v="3713" actId="1076"/>
          <ac:cxnSpMkLst>
            <pc:docMk/>
            <pc:sldMk cId="3742971938" sldId="2147470147"/>
            <ac:cxnSpMk id="120" creationId="{04DF232F-345F-A667-5FF6-5FE10E3838A8}"/>
          </ac:cxnSpMkLst>
        </pc:cxnChg>
        <pc:cxnChg chg="add mod">
          <ac:chgData name="Votana Srey" userId="13bee0a8-d205-440d-95f7-48959fdcf002" providerId="ADAL" clId="{0D44528D-A8F9-4657-BEDD-69DBD6A2190B}" dt="2023-02-13T06:02:54.273" v="3713" actId="1076"/>
          <ac:cxnSpMkLst>
            <pc:docMk/>
            <pc:sldMk cId="3742971938" sldId="2147470147"/>
            <ac:cxnSpMk id="122" creationId="{1ACD4996-46A8-0573-3DC9-ABBDE4C63DC6}"/>
          </ac:cxnSpMkLst>
        </pc:cxnChg>
        <pc:cxnChg chg="add mod">
          <ac:chgData name="Votana Srey" userId="13bee0a8-d205-440d-95f7-48959fdcf002" providerId="ADAL" clId="{0D44528D-A8F9-4657-BEDD-69DBD6A2190B}" dt="2023-02-13T06:02:54.273" v="3713" actId="1076"/>
          <ac:cxnSpMkLst>
            <pc:docMk/>
            <pc:sldMk cId="3742971938" sldId="2147470147"/>
            <ac:cxnSpMk id="124" creationId="{123CC454-AF41-DD35-98B9-7774BB5683E8}"/>
          </ac:cxnSpMkLst>
        </pc:cxnChg>
        <pc:cxnChg chg="add mod">
          <ac:chgData name="Votana Srey" userId="13bee0a8-d205-440d-95f7-48959fdcf002" providerId="ADAL" clId="{0D44528D-A8F9-4657-BEDD-69DBD6A2190B}" dt="2023-02-13T06:02:54.273" v="3713" actId="1076"/>
          <ac:cxnSpMkLst>
            <pc:docMk/>
            <pc:sldMk cId="3742971938" sldId="2147470147"/>
            <ac:cxnSpMk id="134" creationId="{14AE5EA2-0517-E3D8-AAD4-C145EE54732E}"/>
          </ac:cxnSpMkLst>
        </pc:cxnChg>
        <pc:cxnChg chg="add mod">
          <ac:chgData name="Votana Srey" userId="13bee0a8-d205-440d-95f7-48959fdcf002" providerId="ADAL" clId="{0D44528D-A8F9-4657-BEDD-69DBD6A2190B}" dt="2023-02-13T06:02:54.273" v="3713" actId="1076"/>
          <ac:cxnSpMkLst>
            <pc:docMk/>
            <pc:sldMk cId="3742971938" sldId="2147470147"/>
            <ac:cxnSpMk id="136" creationId="{675A552D-2ADB-28B3-7C0C-80824561238C}"/>
          </ac:cxnSpMkLst>
        </pc:cxnChg>
        <pc:cxnChg chg="add mod">
          <ac:chgData name="Votana Srey" userId="13bee0a8-d205-440d-95f7-48959fdcf002" providerId="ADAL" clId="{0D44528D-A8F9-4657-BEDD-69DBD6A2190B}" dt="2023-02-13T06:02:54.273" v="3713" actId="1076"/>
          <ac:cxnSpMkLst>
            <pc:docMk/>
            <pc:sldMk cId="3742971938" sldId="2147470147"/>
            <ac:cxnSpMk id="139" creationId="{B4EACEA4-9547-3E54-65E7-906BAACB455C}"/>
          </ac:cxnSpMkLst>
        </pc:cxnChg>
        <pc:cxnChg chg="add mod">
          <ac:chgData name="Votana Srey" userId="13bee0a8-d205-440d-95f7-48959fdcf002" providerId="ADAL" clId="{0D44528D-A8F9-4657-BEDD-69DBD6A2190B}" dt="2023-02-13T06:02:54.273" v="3713" actId="1076"/>
          <ac:cxnSpMkLst>
            <pc:docMk/>
            <pc:sldMk cId="3742971938" sldId="2147470147"/>
            <ac:cxnSpMk id="141" creationId="{33966FAF-EFEE-CC81-ADAF-49D0EB371F85}"/>
          </ac:cxnSpMkLst>
        </pc:cxnChg>
        <pc:cxnChg chg="add mod">
          <ac:chgData name="Votana Srey" userId="13bee0a8-d205-440d-95f7-48959fdcf002" providerId="ADAL" clId="{0D44528D-A8F9-4657-BEDD-69DBD6A2190B}" dt="2023-02-13T06:02:54.273" v="3713" actId="1076"/>
          <ac:cxnSpMkLst>
            <pc:docMk/>
            <pc:sldMk cId="3742971938" sldId="2147470147"/>
            <ac:cxnSpMk id="145" creationId="{4E9675B6-24BF-FF96-1159-2879607BB817}"/>
          </ac:cxnSpMkLst>
        </pc:cxnChg>
        <pc:cxnChg chg="add mod">
          <ac:chgData name="Votana Srey" userId="13bee0a8-d205-440d-95f7-48959fdcf002" providerId="ADAL" clId="{0D44528D-A8F9-4657-BEDD-69DBD6A2190B}" dt="2023-02-13T06:02:54.273" v="3713" actId="1076"/>
          <ac:cxnSpMkLst>
            <pc:docMk/>
            <pc:sldMk cId="3742971938" sldId="2147470147"/>
            <ac:cxnSpMk id="147" creationId="{1C12506A-39D7-B192-B62E-4C2F67A80D6C}"/>
          </ac:cxnSpMkLst>
        </pc:cxnChg>
        <pc:cxnChg chg="add mod">
          <ac:chgData name="Votana Srey" userId="13bee0a8-d205-440d-95f7-48959fdcf002" providerId="ADAL" clId="{0D44528D-A8F9-4657-BEDD-69DBD6A2190B}" dt="2023-02-13T06:02:54.273" v="3713" actId="1076"/>
          <ac:cxnSpMkLst>
            <pc:docMk/>
            <pc:sldMk cId="3742971938" sldId="2147470147"/>
            <ac:cxnSpMk id="151" creationId="{6B8B1BC4-6FE1-87D7-5C7A-C46B0492EA45}"/>
          </ac:cxnSpMkLst>
        </pc:cxnChg>
        <pc:cxnChg chg="add mod">
          <ac:chgData name="Votana Srey" userId="13bee0a8-d205-440d-95f7-48959fdcf002" providerId="ADAL" clId="{0D44528D-A8F9-4657-BEDD-69DBD6A2190B}" dt="2023-02-13T06:02:54.273" v="3713" actId="1076"/>
          <ac:cxnSpMkLst>
            <pc:docMk/>
            <pc:sldMk cId="3742971938" sldId="2147470147"/>
            <ac:cxnSpMk id="154" creationId="{EA08AA72-21D4-27FC-AB79-D73C70C56376}"/>
          </ac:cxnSpMkLst>
        </pc:cxnChg>
      </pc:sldChg>
      <pc:sldChg chg="modSp add mod">
        <pc:chgData name="Votana Srey" userId="13bee0a8-d205-440d-95f7-48959fdcf002" providerId="ADAL" clId="{0D44528D-A8F9-4657-BEDD-69DBD6A2190B}" dt="2023-02-17T15:30:34.761" v="3743" actId="207"/>
        <pc:sldMkLst>
          <pc:docMk/>
          <pc:sldMk cId="1637898337" sldId="2147470148"/>
        </pc:sldMkLst>
        <pc:spChg chg="mod">
          <ac:chgData name="Votana Srey" userId="13bee0a8-d205-440d-95f7-48959fdcf002" providerId="ADAL" clId="{0D44528D-A8F9-4657-BEDD-69DBD6A2190B}" dt="2023-02-17T15:28:38.104" v="3730" actId="207"/>
          <ac:spMkLst>
            <pc:docMk/>
            <pc:sldMk cId="1637898337" sldId="2147470148"/>
            <ac:spMk id="18" creationId="{E000606E-A990-AF2E-E803-68681E847B6C}"/>
          </ac:spMkLst>
        </pc:spChg>
        <pc:spChg chg="mod">
          <ac:chgData name="Votana Srey" userId="13bee0a8-d205-440d-95f7-48959fdcf002" providerId="ADAL" clId="{0D44528D-A8F9-4657-BEDD-69DBD6A2190B}" dt="2023-02-17T15:29:12.196" v="3736" actId="207"/>
          <ac:spMkLst>
            <pc:docMk/>
            <pc:sldMk cId="1637898337" sldId="2147470148"/>
            <ac:spMk id="20" creationId="{999CBAD0-2146-0190-412F-3794E4AE91FE}"/>
          </ac:spMkLst>
        </pc:spChg>
        <pc:spChg chg="mod">
          <ac:chgData name="Votana Srey" userId="13bee0a8-d205-440d-95f7-48959fdcf002" providerId="ADAL" clId="{0D44528D-A8F9-4657-BEDD-69DBD6A2190B}" dt="2023-02-17T15:28:59.369" v="3735" actId="207"/>
          <ac:spMkLst>
            <pc:docMk/>
            <pc:sldMk cId="1637898337" sldId="2147470148"/>
            <ac:spMk id="21" creationId="{7339EDFD-58AC-9570-B3E5-09556D86891D}"/>
          </ac:spMkLst>
        </pc:spChg>
        <pc:spChg chg="mod">
          <ac:chgData name="Votana Srey" userId="13bee0a8-d205-440d-95f7-48959fdcf002" providerId="ADAL" clId="{0D44528D-A8F9-4657-BEDD-69DBD6A2190B}" dt="2023-02-17T15:28:19.436" v="3728" actId="207"/>
          <ac:spMkLst>
            <pc:docMk/>
            <pc:sldMk cId="1637898337" sldId="2147470148"/>
            <ac:spMk id="22" creationId="{3D47F833-1B2F-9086-C1E8-53C90B977603}"/>
          </ac:spMkLst>
        </pc:spChg>
        <pc:spChg chg="mod">
          <ac:chgData name="Votana Srey" userId="13bee0a8-d205-440d-95f7-48959fdcf002" providerId="ADAL" clId="{0D44528D-A8F9-4657-BEDD-69DBD6A2190B}" dt="2023-02-17T15:28:19.436" v="3728" actId="207"/>
          <ac:spMkLst>
            <pc:docMk/>
            <pc:sldMk cId="1637898337" sldId="2147470148"/>
            <ac:spMk id="37" creationId="{07BEEF89-D708-908C-EE6B-ADC92B00C7C6}"/>
          </ac:spMkLst>
        </pc:spChg>
        <pc:spChg chg="mod">
          <ac:chgData name="Votana Srey" userId="13bee0a8-d205-440d-95f7-48959fdcf002" providerId="ADAL" clId="{0D44528D-A8F9-4657-BEDD-69DBD6A2190B}" dt="2023-02-17T15:30:34.761" v="3743" actId="207"/>
          <ac:spMkLst>
            <pc:docMk/>
            <pc:sldMk cId="1637898337" sldId="2147470148"/>
            <ac:spMk id="38" creationId="{CE7960B9-1064-469B-3E24-9FCCCDD307C8}"/>
          </ac:spMkLst>
        </pc:spChg>
        <pc:spChg chg="mod">
          <ac:chgData name="Votana Srey" userId="13bee0a8-d205-440d-95f7-48959fdcf002" providerId="ADAL" clId="{0D44528D-A8F9-4657-BEDD-69DBD6A2190B}" dt="2023-02-17T15:28:19.436" v="3728" actId="207"/>
          <ac:spMkLst>
            <pc:docMk/>
            <pc:sldMk cId="1637898337" sldId="2147470148"/>
            <ac:spMk id="40" creationId="{25643728-370C-A91D-DDC2-6D3CEF4F76BA}"/>
          </ac:spMkLst>
        </pc:spChg>
        <pc:spChg chg="mod">
          <ac:chgData name="Votana Srey" userId="13bee0a8-d205-440d-95f7-48959fdcf002" providerId="ADAL" clId="{0D44528D-A8F9-4657-BEDD-69DBD6A2190B}" dt="2023-02-17T15:30:01.173" v="3738" actId="207"/>
          <ac:spMkLst>
            <pc:docMk/>
            <pc:sldMk cId="1637898337" sldId="2147470148"/>
            <ac:spMk id="43" creationId="{2CA5FA03-92C6-4800-05D8-48E3FF580AA7}"/>
          </ac:spMkLst>
        </pc:spChg>
        <pc:spChg chg="mod">
          <ac:chgData name="Votana Srey" userId="13bee0a8-d205-440d-95f7-48959fdcf002" providerId="ADAL" clId="{0D44528D-A8F9-4657-BEDD-69DBD6A2190B}" dt="2023-02-17T15:30:22.037" v="3741" actId="207"/>
          <ac:spMkLst>
            <pc:docMk/>
            <pc:sldMk cId="1637898337" sldId="2147470148"/>
            <ac:spMk id="44" creationId="{5AFCA3C8-0146-5B8A-54DE-FC9F7E41190A}"/>
          </ac:spMkLst>
        </pc:spChg>
        <pc:spChg chg="mod">
          <ac:chgData name="Votana Srey" userId="13bee0a8-d205-440d-95f7-48959fdcf002" providerId="ADAL" clId="{0D44528D-A8F9-4657-BEDD-69DBD6A2190B}" dt="2023-02-17T15:27:19.374" v="3724" actId="1036"/>
          <ac:spMkLst>
            <pc:docMk/>
            <pc:sldMk cId="1637898337" sldId="2147470148"/>
            <ac:spMk id="152" creationId="{1D557021-53F7-2BF0-BA4A-8EB729183EB0}"/>
          </ac:spMkLst>
        </pc:spChg>
      </pc:sldChg>
      <pc:sldChg chg="addSp delSp modSp add mod">
        <pc:chgData name="Votana Srey" userId="13bee0a8-d205-440d-95f7-48959fdcf002" providerId="ADAL" clId="{0D44528D-A8F9-4657-BEDD-69DBD6A2190B}" dt="2023-02-17T17:26:23.430" v="4113" actId="14100"/>
        <pc:sldMkLst>
          <pc:docMk/>
          <pc:sldMk cId="2046615995" sldId="2147470149"/>
        </pc:sldMkLst>
        <pc:spChg chg="del">
          <ac:chgData name="Votana Srey" userId="13bee0a8-d205-440d-95f7-48959fdcf002" providerId="ADAL" clId="{0D44528D-A8F9-4657-BEDD-69DBD6A2190B}" dt="2023-02-17T15:34:18.296" v="3745" actId="478"/>
          <ac:spMkLst>
            <pc:docMk/>
            <pc:sldMk cId="2046615995" sldId="2147470149"/>
            <ac:spMk id="2" creationId="{82E916DE-D5D5-D727-5B85-18430424F92F}"/>
          </ac:spMkLst>
        </pc:spChg>
        <pc:spChg chg="del">
          <ac:chgData name="Votana Srey" userId="13bee0a8-d205-440d-95f7-48959fdcf002" providerId="ADAL" clId="{0D44528D-A8F9-4657-BEDD-69DBD6A2190B}" dt="2023-02-17T15:34:18.296" v="3745" actId="478"/>
          <ac:spMkLst>
            <pc:docMk/>
            <pc:sldMk cId="2046615995" sldId="2147470149"/>
            <ac:spMk id="4" creationId="{5BA3CD8F-30D4-6404-8130-8A976E62313A}"/>
          </ac:spMkLst>
        </pc:spChg>
        <pc:spChg chg="del">
          <ac:chgData name="Votana Srey" userId="13bee0a8-d205-440d-95f7-48959fdcf002" providerId="ADAL" clId="{0D44528D-A8F9-4657-BEDD-69DBD6A2190B}" dt="2023-02-17T15:34:18.296" v="3745" actId="478"/>
          <ac:spMkLst>
            <pc:docMk/>
            <pc:sldMk cId="2046615995" sldId="2147470149"/>
            <ac:spMk id="7" creationId="{93497556-A39E-C9F6-CA31-642D326E8228}"/>
          </ac:spMkLst>
        </pc:spChg>
        <pc:spChg chg="del">
          <ac:chgData name="Votana Srey" userId="13bee0a8-d205-440d-95f7-48959fdcf002" providerId="ADAL" clId="{0D44528D-A8F9-4657-BEDD-69DBD6A2190B}" dt="2023-02-17T15:34:18.296" v="3745" actId="478"/>
          <ac:spMkLst>
            <pc:docMk/>
            <pc:sldMk cId="2046615995" sldId="2147470149"/>
            <ac:spMk id="8" creationId="{4B0BD1B3-6589-271C-8A64-F78B6FC18E0C}"/>
          </ac:spMkLst>
        </pc:spChg>
        <pc:spChg chg="add mod">
          <ac:chgData name="Votana Srey" userId="13bee0a8-d205-440d-95f7-48959fdcf002" providerId="ADAL" clId="{0D44528D-A8F9-4657-BEDD-69DBD6A2190B}" dt="2023-02-17T17:16:17.293" v="3867" actId="14100"/>
          <ac:spMkLst>
            <pc:docMk/>
            <pc:sldMk cId="2046615995" sldId="2147470149"/>
            <ac:spMk id="9" creationId="{91FD2247-2C6F-EC45-0CA1-F76A39832468}"/>
          </ac:spMkLst>
        </pc:spChg>
        <pc:spChg chg="del">
          <ac:chgData name="Votana Srey" userId="13bee0a8-d205-440d-95f7-48959fdcf002" providerId="ADAL" clId="{0D44528D-A8F9-4657-BEDD-69DBD6A2190B}" dt="2023-02-17T15:34:18.296" v="3745" actId="478"/>
          <ac:spMkLst>
            <pc:docMk/>
            <pc:sldMk cId="2046615995" sldId="2147470149"/>
            <ac:spMk id="10" creationId="{C41D776F-CBA1-7D80-6795-71FB18946218}"/>
          </ac:spMkLst>
        </pc:spChg>
        <pc:spChg chg="del">
          <ac:chgData name="Votana Srey" userId="13bee0a8-d205-440d-95f7-48959fdcf002" providerId="ADAL" clId="{0D44528D-A8F9-4657-BEDD-69DBD6A2190B}" dt="2023-02-17T15:34:18.296" v="3745" actId="478"/>
          <ac:spMkLst>
            <pc:docMk/>
            <pc:sldMk cId="2046615995" sldId="2147470149"/>
            <ac:spMk id="11" creationId="{EE22FC85-1F41-F714-EBFE-84A3B7736281}"/>
          </ac:spMkLst>
        </pc:spChg>
        <pc:spChg chg="del">
          <ac:chgData name="Votana Srey" userId="13bee0a8-d205-440d-95f7-48959fdcf002" providerId="ADAL" clId="{0D44528D-A8F9-4657-BEDD-69DBD6A2190B}" dt="2023-02-17T15:34:18.296" v="3745" actId="478"/>
          <ac:spMkLst>
            <pc:docMk/>
            <pc:sldMk cId="2046615995" sldId="2147470149"/>
            <ac:spMk id="12" creationId="{15345C60-208B-BA57-3184-D3C231BF9057}"/>
          </ac:spMkLst>
        </pc:spChg>
        <pc:spChg chg="del">
          <ac:chgData name="Votana Srey" userId="13bee0a8-d205-440d-95f7-48959fdcf002" providerId="ADAL" clId="{0D44528D-A8F9-4657-BEDD-69DBD6A2190B}" dt="2023-02-17T15:34:20.780" v="3746" actId="478"/>
          <ac:spMkLst>
            <pc:docMk/>
            <pc:sldMk cId="2046615995" sldId="2147470149"/>
            <ac:spMk id="13" creationId="{178CC533-431A-047A-9701-144270640A84}"/>
          </ac:spMkLst>
        </pc:spChg>
        <pc:spChg chg="add mod">
          <ac:chgData name="Votana Srey" userId="13bee0a8-d205-440d-95f7-48959fdcf002" providerId="ADAL" clId="{0D44528D-A8F9-4657-BEDD-69DBD6A2190B}" dt="2023-02-17T17:16:24.897" v="3869" actId="14100"/>
          <ac:spMkLst>
            <pc:docMk/>
            <pc:sldMk cId="2046615995" sldId="2147470149"/>
            <ac:spMk id="14" creationId="{F1F44D77-8742-4A50-11CC-891D96B3D8CB}"/>
          </ac:spMkLst>
        </pc:spChg>
        <pc:spChg chg="del">
          <ac:chgData name="Votana Srey" userId="13bee0a8-d205-440d-95f7-48959fdcf002" providerId="ADAL" clId="{0D44528D-A8F9-4657-BEDD-69DBD6A2190B}" dt="2023-02-17T15:34:18.296" v="3745" actId="478"/>
          <ac:spMkLst>
            <pc:docMk/>
            <pc:sldMk cId="2046615995" sldId="2147470149"/>
            <ac:spMk id="15" creationId="{12800822-DBF9-48DF-0E3C-75DDBB1A562A}"/>
          </ac:spMkLst>
        </pc:spChg>
        <pc:spChg chg="add mod">
          <ac:chgData name="Votana Srey" userId="13bee0a8-d205-440d-95f7-48959fdcf002" providerId="ADAL" clId="{0D44528D-A8F9-4657-BEDD-69DBD6A2190B}" dt="2023-02-17T17:16:29.546" v="3870" actId="1076"/>
          <ac:spMkLst>
            <pc:docMk/>
            <pc:sldMk cId="2046615995" sldId="2147470149"/>
            <ac:spMk id="16" creationId="{16F6C848-E3CE-BEAE-0605-A562A512966A}"/>
          </ac:spMkLst>
        </pc:spChg>
        <pc:spChg chg="del">
          <ac:chgData name="Votana Srey" userId="13bee0a8-d205-440d-95f7-48959fdcf002" providerId="ADAL" clId="{0D44528D-A8F9-4657-BEDD-69DBD6A2190B}" dt="2023-02-17T15:34:18.296" v="3745" actId="478"/>
          <ac:spMkLst>
            <pc:docMk/>
            <pc:sldMk cId="2046615995" sldId="2147470149"/>
            <ac:spMk id="17" creationId="{D06714C0-8035-E29A-917B-16554B0B9F9B}"/>
          </ac:spMkLst>
        </pc:spChg>
        <pc:spChg chg="del">
          <ac:chgData name="Votana Srey" userId="13bee0a8-d205-440d-95f7-48959fdcf002" providerId="ADAL" clId="{0D44528D-A8F9-4657-BEDD-69DBD6A2190B}" dt="2023-02-17T15:34:18.296" v="3745" actId="478"/>
          <ac:spMkLst>
            <pc:docMk/>
            <pc:sldMk cId="2046615995" sldId="2147470149"/>
            <ac:spMk id="18" creationId="{E000606E-A990-AF2E-E803-68681E847B6C}"/>
          </ac:spMkLst>
        </pc:spChg>
        <pc:spChg chg="del">
          <ac:chgData name="Votana Srey" userId="13bee0a8-d205-440d-95f7-48959fdcf002" providerId="ADAL" clId="{0D44528D-A8F9-4657-BEDD-69DBD6A2190B}" dt="2023-02-17T15:34:18.296" v="3745" actId="478"/>
          <ac:spMkLst>
            <pc:docMk/>
            <pc:sldMk cId="2046615995" sldId="2147470149"/>
            <ac:spMk id="19" creationId="{60D138F8-BD91-04C7-D744-0F5268EF0EBB}"/>
          </ac:spMkLst>
        </pc:spChg>
        <pc:spChg chg="del">
          <ac:chgData name="Votana Srey" userId="13bee0a8-d205-440d-95f7-48959fdcf002" providerId="ADAL" clId="{0D44528D-A8F9-4657-BEDD-69DBD6A2190B}" dt="2023-02-17T15:34:18.296" v="3745" actId="478"/>
          <ac:spMkLst>
            <pc:docMk/>
            <pc:sldMk cId="2046615995" sldId="2147470149"/>
            <ac:spMk id="20" creationId="{999CBAD0-2146-0190-412F-3794E4AE91FE}"/>
          </ac:spMkLst>
        </pc:spChg>
        <pc:spChg chg="del">
          <ac:chgData name="Votana Srey" userId="13bee0a8-d205-440d-95f7-48959fdcf002" providerId="ADAL" clId="{0D44528D-A8F9-4657-BEDD-69DBD6A2190B}" dt="2023-02-17T15:34:18.296" v="3745" actId="478"/>
          <ac:spMkLst>
            <pc:docMk/>
            <pc:sldMk cId="2046615995" sldId="2147470149"/>
            <ac:spMk id="21" creationId="{7339EDFD-58AC-9570-B3E5-09556D86891D}"/>
          </ac:spMkLst>
        </pc:spChg>
        <pc:spChg chg="del">
          <ac:chgData name="Votana Srey" userId="13bee0a8-d205-440d-95f7-48959fdcf002" providerId="ADAL" clId="{0D44528D-A8F9-4657-BEDD-69DBD6A2190B}" dt="2023-02-17T15:34:18.296" v="3745" actId="478"/>
          <ac:spMkLst>
            <pc:docMk/>
            <pc:sldMk cId="2046615995" sldId="2147470149"/>
            <ac:spMk id="22" creationId="{3D47F833-1B2F-9086-C1E8-53C90B977603}"/>
          </ac:spMkLst>
        </pc:spChg>
        <pc:spChg chg="del">
          <ac:chgData name="Votana Srey" userId="13bee0a8-d205-440d-95f7-48959fdcf002" providerId="ADAL" clId="{0D44528D-A8F9-4657-BEDD-69DBD6A2190B}" dt="2023-02-17T15:34:18.296" v="3745" actId="478"/>
          <ac:spMkLst>
            <pc:docMk/>
            <pc:sldMk cId="2046615995" sldId="2147470149"/>
            <ac:spMk id="23" creationId="{37FDAD41-331F-B844-5C4E-75297F8CD6CC}"/>
          </ac:spMkLst>
        </pc:spChg>
        <pc:spChg chg="add del mod">
          <ac:chgData name="Votana Srey" userId="13bee0a8-d205-440d-95f7-48959fdcf002" providerId="ADAL" clId="{0D44528D-A8F9-4657-BEDD-69DBD6A2190B}" dt="2023-02-17T17:15:56.220" v="3865" actId="478"/>
          <ac:spMkLst>
            <pc:docMk/>
            <pc:sldMk cId="2046615995" sldId="2147470149"/>
            <ac:spMk id="24" creationId="{64B7FE77-F33A-44D4-3E82-3F92573E0B38}"/>
          </ac:spMkLst>
        </pc:spChg>
        <pc:spChg chg="del mod topLvl">
          <ac:chgData name="Votana Srey" userId="13bee0a8-d205-440d-95f7-48959fdcf002" providerId="ADAL" clId="{0D44528D-A8F9-4657-BEDD-69DBD6A2190B}" dt="2023-02-17T17:20:45.288" v="3937" actId="478"/>
          <ac:spMkLst>
            <pc:docMk/>
            <pc:sldMk cId="2046615995" sldId="2147470149"/>
            <ac:spMk id="31" creationId="{AEFD745B-2B6E-CE78-A0BD-650C71E08A09}"/>
          </ac:spMkLst>
        </pc:spChg>
        <pc:spChg chg="del mod topLvl">
          <ac:chgData name="Votana Srey" userId="13bee0a8-d205-440d-95f7-48959fdcf002" providerId="ADAL" clId="{0D44528D-A8F9-4657-BEDD-69DBD6A2190B}" dt="2023-02-17T17:20:50.759" v="3938" actId="478"/>
          <ac:spMkLst>
            <pc:docMk/>
            <pc:sldMk cId="2046615995" sldId="2147470149"/>
            <ac:spMk id="32" creationId="{9592F980-BFF8-3D03-471F-2B502D0F4F04}"/>
          </ac:spMkLst>
        </pc:spChg>
        <pc:spChg chg="del mod topLvl">
          <ac:chgData name="Votana Srey" userId="13bee0a8-d205-440d-95f7-48959fdcf002" providerId="ADAL" clId="{0D44528D-A8F9-4657-BEDD-69DBD6A2190B}" dt="2023-02-17T17:20:50.759" v="3938" actId="478"/>
          <ac:spMkLst>
            <pc:docMk/>
            <pc:sldMk cId="2046615995" sldId="2147470149"/>
            <ac:spMk id="33" creationId="{8511D7FD-CE54-7EFC-3846-1F63EEFB838E}"/>
          </ac:spMkLst>
        </pc:spChg>
        <pc:spChg chg="del mod topLvl">
          <ac:chgData name="Votana Srey" userId="13bee0a8-d205-440d-95f7-48959fdcf002" providerId="ADAL" clId="{0D44528D-A8F9-4657-BEDD-69DBD6A2190B}" dt="2023-02-17T17:20:50.759" v="3938" actId="478"/>
          <ac:spMkLst>
            <pc:docMk/>
            <pc:sldMk cId="2046615995" sldId="2147470149"/>
            <ac:spMk id="34" creationId="{1D120A01-D289-A4BF-F181-4B86E3561B74}"/>
          </ac:spMkLst>
        </pc:spChg>
        <pc:spChg chg="del mod topLvl">
          <ac:chgData name="Votana Srey" userId="13bee0a8-d205-440d-95f7-48959fdcf002" providerId="ADAL" clId="{0D44528D-A8F9-4657-BEDD-69DBD6A2190B}" dt="2023-02-17T17:20:50.759" v="3938" actId="478"/>
          <ac:spMkLst>
            <pc:docMk/>
            <pc:sldMk cId="2046615995" sldId="2147470149"/>
            <ac:spMk id="35" creationId="{4153307B-54E5-34F4-09D9-8A191A5B88E1}"/>
          </ac:spMkLst>
        </pc:spChg>
        <pc:spChg chg="add del mod topLvl">
          <ac:chgData name="Votana Srey" userId="13bee0a8-d205-440d-95f7-48959fdcf002" providerId="ADAL" clId="{0D44528D-A8F9-4657-BEDD-69DBD6A2190B}" dt="2023-02-17T17:26:06.848" v="4052" actId="14100"/>
          <ac:spMkLst>
            <pc:docMk/>
            <pc:sldMk cId="2046615995" sldId="2147470149"/>
            <ac:spMk id="36" creationId="{084633B3-4BBA-3BB5-BBE6-11AEA7C5C1C5}"/>
          </ac:spMkLst>
        </pc:spChg>
        <pc:spChg chg="del">
          <ac:chgData name="Votana Srey" userId="13bee0a8-d205-440d-95f7-48959fdcf002" providerId="ADAL" clId="{0D44528D-A8F9-4657-BEDD-69DBD6A2190B}" dt="2023-02-17T15:34:18.296" v="3745" actId="478"/>
          <ac:spMkLst>
            <pc:docMk/>
            <pc:sldMk cId="2046615995" sldId="2147470149"/>
            <ac:spMk id="37" creationId="{07BEEF89-D708-908C-EE6B-ADC92B00C7C6}"/>
          </ac:spMkLst>
        </pc:spChg>
        <pc:spChg chg="del">
          <ac:chgData name="Votana Srey" userId="13bee0a8-d205-440d-95f7-48959fdcf002" providerId="ADAL" clId="{0D44528D-A8F9-4657-BEDD-69DBD6A2190B}" dt="2023-02-17T15:34:20.780" v="3746" actId="478"/>
          <ac:spMkLst>
            <pc:docMk/>
            <pc:sldMk cId="2046615995" sldId="2147470149"/>
            <ac:spMk id="38" creationId="{CE7960B9-1064-469B-3E24-9FCCCDD307C8}"/>
          </ac:spMkLst>
        </pc:spChg>
        <pc:spChg chg="del">
          <ac:chgData name="Votana Srey" userId="13bee0a8-d205-440d-95f7-48959fdcf002" providerId="ADAL" clId="{0D44528D-A8F9-4657-BEDD-69DBD6A2190B}" dt="2023-02-17T15:34:18.296" v="3745" actId="478"/>
          <ac:spMkLst>
            <pc:docMk/>
            <pc:sldMk cId="2046615995" sldId="2147470149"/>
            <ac:spMk id="39" creationId="{397BCB01-5267-426A-18EB-9992804F49D0}"/>
          </ac:spMkLst>
        </pc:spChg>
        <pc:spChg chg="del">
          <ac:chgData name="Votana Srey" userId="13bee0a8-d205-440d-95f7-48959fdcf002" providerId="ADAL" clId="{0D44528D-A8F9-4657-BEDD-69DBD6A2190B}" dt="2023-02-17T15:34:18.296" v="3745" actId="478"/>
          <ac:spMkLst>
            <pc:docMk/>
            <pc:sldMk cId="2046615995" sldId="2147470149"/>
            <ac:spMk id="40" creationId="{25643728-370C-A91D-DDC2-6D3CEF4F76BA}"/>
          </ac:spMkLst>
        </pc:spChg>
        <pc:spChg chg="del">
          <ac:chgData name="Votana Srey" userId="13bee0a8-d205-440d-95f7-48959fdcf002" providerId="ADAL" clId="{0D44528D-A8F9-4657-BEDD-69DBD6A2190B}" dt="2023-02-17T15:34:18.296" v="3745" actId="478"/>
          <ac:spMkLst>
            <pc:docMk/>
            <pc:sldMk cId="2046615995" sldId="2147470149"/>
            <ac:spMk id="41" creationId="{7ECEB35B-0225-EB5A-D125-C820EC365CBA}"/>
          </ac:spMkLst>
        </pc:spChg>
        <pc:spChg chg="add mod">
          <ac:chgData name="Votana Srey" userId="13bee0a8-d205-440d-95f7-48959fdcf002" providerId="ADAL" clId="{0D44528D-A8F9-4657-BEDD-69DBD6A2190B}" dt="2023-02-17T17:21:07.794" v="3949" actId="14100"/>
          <ac:spMkLst>
            <pc:docMk/>
            <pc:sldMk cId="2046615995" sldId="2147470149"/>
            <ac:spMk id="42" creationId="{9DDAD9AB-06F5-1D96-D46F-89018F8551DE}"/>
          </ac:spMkLst>
        </pc:spChg>
        <pc:spChg chg="del">
          <ac:chgData name="Votana Srey" userId="13bee0a8-d205-440d-95f7-48959fdcf002" providerId="ADAL" clId="{0D44528D-A8F9-4657-BEDD-69DBD6A2190B}" dt="2023-02-17T15:34:18.296" v="3745" actId="478"/>
          <ac:spMkLst>
            <pc:docMk/>
            <pc:sldMk cId="2046615995" sldId="2147470149"/>
            <ac:spMk id="43" creationId="{2CA5FA03-92C6-4800-05D8-48E3FF580AA7}"/>
          </ac:spMkLst>
        </pc:spChg>
        <pc:spChg chg="del">
          <ac:chgData name="Votana Srey" userId="13bee0a8-d205-440d-95f7-48959fdcf002" providerId="ADAL" clId="{0D44528D-A8F9-4657-BEDD-69DBD6A2190B}" dt="2023-02-17T15:34:18.296" v="3745" actId="478"/>
          <ac:spMkLst>
            <pc:docMk/>
            <pc:sldMk cId="2046615995" sldId="2147470149"/>
            <ac:spMk id="44" creationId="{5AFCA3C8-0146-5B8A-54DE-FC9F7E41190A}"/>
          </ac:spMkLst>
        </pc:spChg>
        <pc:spChg chg="add del mod">
          <ac:chgData name="Votana Srey" userId="13bee0a8-d205-440d-95f7-48959fdcf002" providerId="ADAL" clId="{0D44528D-A8F9-4657-BEDD-69DBD6A2190B}" dt="2023-02-17T17:24:38.904" v="4026" actId="478"/>
          <ac:spMkLst>
            <pc:docMk/>
            <pc:sldMk cId="2046615995" sldId="2147470149"/>
            <ac:spMk id="45" creationId="{F4A4CA6F-F95A-E5A3-6F5B-77A0BEA4A0ED}"/>
          </ac:spMkLst>
        </pc:spChg>
        <pc:spChg chg="add del mod">
          <ac:chgData name="Votana Srey" userId="13bee0a8-d205-440d-95f7-48959fdcf002" providerId="ADAL" clId="{0D44528D-A8F9-4657-BEDD-69DBD6A2190B}" dt="2023-02-17T17:24:38.904" v="4026" actId="478"/>
          <ac:spMkLst>
            <pc:docMk/>
            <pc:sldMk cId="2046615995" sldId="2147470149"/>
            <ac:spMk id="47" creationId="{495BA49C-770E-24E0-9BD7-629BB0FB0760}"/>
          </ac:spMkLst>
        </pc:spChg>
        <pc:spChg chg="add mod">
          <ac:chgData name="Votana Srey" userId="13bee0a8-d205-440d-95f7-48959fdcf002" providerId="ADAL" clId="{0D44528D-A8F9-4657-BEDD-69DBD6A2190B}" dt="2023-02-17T17:26:23.430" v="4113" actId="14100"/>
          <ac:spMkLst>
            <pc:docMk/>
            <pc:sldMk cId="2046615995" sldId="2147470149"/>
            <ac:spMk id="48" creationId="{41F73D80-1668-1016-873D-2E063D6A12D9}"/>
          </ac:spMkLst>
        </pc:spChg>
        <pc:spChg chg="add mod">
          <ac:chgData name="Votana Srey" userId="13bee0a8-d205-440d-95f7-48959fdcf002" providerId="ADAL" clId="{0D44528D-A8F9-4657-BEDD-69DBD6A2190B}" dt="2023-02-17T17:26:15.209" v="4100" actId="1038"/>
          <ac:spMkLst>
            <pc:docMk/>
            <pc:sldMk cId="2046615995" sldId="2147470149"/>
            <ac:spMk id="50" creationId="{318C67E3-E9E9-F0B2-B0A2-073460EE2B24}"/>
          </ac:spMkLst>
        </pc:spChg>
        <pc:spChg chg="del">
          <ac:chgData name="Votana Srey" userId="13bee0a8-d205-440d-95f7-48959fdcf002" providerId="ADAL" clId="{0D44528D-A8F9-4657-BEDD-69DBD6A2190B}" dt="2023-02-17T15:34:18.296" v="3745" actId="478"/>
          <ac:spMkLst>
            <pc:docMk/>
            <pc:sldMk cId="2046615995" sldId="2147470149"/>
            <ac:spMk id="129" creationId="{2E3A5F2D-B968-F95D-D8B2-8E8B9EF7D59B}"/>
          </ac:spMkLst>
        </pc:spChg>
        <pc:spChg chg="del">
          <ac:chgData name="Votana Srey" userId="13bee0a8-d205-440d-95f7-48959fdcf002" providerId="ADAL" clId="{0D44528D-A8F9-4657-BEDD-69DBD6A2190B}" dt="2023-02-17T15:34:18.296" v="3745" actId="478"/>
          <ac:spMkLst>
            <pc:docMk/>
            <pc:sldMk cId="2046615995" sldId="2147470149"/>
            <ac:spMk id="130" creationId="{7EEBC4F4-405D-3A95-798F-63408B023732}"/>
          </ac:spMkLst>
        </pc:spChg>
        <pc:spChg chg="del">
          <ac:chgData name="Votana Srey" userId="13bee0a8-d205-440d-95f7-48959fdcf002" providerId="ADAL" clId="{0D44528D-A8F9-4657-BEDD-69DBD6A2190B}" dt="2023-02-17T15:34:18.296" v="3745" actId="478"/>
          <ac:spMkLst>
            <pc:docMk/>
            <pc:sldMk cId="2046615995" sldId="2147470149"/>
            <ac:spMk id="131" creationId="{E5B302FD-96AE-8E39-F82E-11F92836B4EB}"/>
          </ac:spMkLst>
        </pc:spChg>
        <pc:spChg chg="del">
          <ac:chgData name="Votana Srey" userId="13bee0a8-d205-440d-95f7-48959fdcf002" providerId="ADAL" clId="{0D44528D-A8F9-4657-BEDD-69DBD6A2190B}" dt="2023-02-17T15:34:18.296" v="3745" actId="478"/>
          <ac:spMkLst>
            <pc:docMk/>
            <pc:sldMk cId="2046615995" sldId="2147470149"/>
            <ac:spMk id="149" creationId="{A047C9B1-B1C6-1626-3926-6A234B6D2279}"/>
          </ac:spMkLst>
        </pc:spChg>
        <pc:spChg chg="del">
          <ac:chgData name="Votana Srey" userId="13bee0a8-d205-440d-95f7-48959fdcf002" providerId="ADAL" clId="{0D44528D-A8F9-4657-BEDD-69DBD6A2190B}" dt="2023-02-17T15:34:18.296" v="3745" actId="478"/>
          <ac:spMkLst>
            <pc:docMk/>
            <pc:sldMk cId="2046615995" sldId="2147470149"/>
            <ac:spMk id="152" creationId="{1D557021-53F7-2BF0-BA4A-8EB729183EB0}"/>
          </ac:spMkLst>
        </pc:spChg>
        <pc:grpChg chg="add del mod">
          <ac:chgData name="Votana Srey" userId="13bee0a8-d205-440d-95f7-48959fdcf002" providerId="ADAL" clId="{0D44528D-A8F9-4657-BEDD-69DBD6A2190B}" dt="2023-02-17T17:20:39.331" v="3934" actId="165"/>
          <ac:grpSpMkLst>
            <pc:docMk/>
            <pc:sldMk cId="2046615995" sldId="2147470149"/>
            <ac:grpSpMk id="25" creationId="{8D46D75B-428E-4119-2D26-D5BCD3755511}"/>
          </ac:grpSpMkLst>
        </pc:grpChg>
        <pc:picChg chg="del mod topLvl">
          <ac:chgData name="Votana Srey" userId="13bee0a8-d205-440d-95f7-48959fdcf002" providerId="ADAL" clId="{0D44528D-A8F9-4657-BEDD-69DBD6A2190B}" dt="2023-02-17T17:20:41.070" v="3935" actId="478"/>
          <ac:picMkLst>
            <pc:docMk/>
            <pc:sldMk cId="2046615995" sldId="2147470149"/>
            <ac:picMk id="26" creationId="{A942BBA3-6978-7E4A-DE48-E10890DAE1A9}"/>
          </ac:picMkLst>
        </pc:picChg>
        <pc:picChg chg="del mod topLvl">
          <ac:chgData name="Votana Srey" userId="13bee0a8-d205-440d-95f7-48959fdcf002" providerId="ADAL" clId="{0D44528D-A8F9-4657-BEDD-69DBD6A2190B}" dt="2023-02-17T17:20:50.759" v="3938" actId="478"/>
          <ac:picMkLst>
            <pc:docMk/>
            <pc:sldMk cId="2046615995" sldId="2147470149"/>
            <ac:picMk id="27" creationId="{257D3C3C-4D01-830A-AB00-6087E3D02E90}"/>
          </ac:picMkLst>
        </pc:picChg>
        <pc:picChg chg="del mod topLvl">
          <ac:chgData name="Votana Srey" userId="13bee0a8-d205-440d-95f7-48959fdcf002" providerId="ADAL" clId="{0D44528D-A8F9-4657-BEDD-69DBD6A2190B}" dt="2023-02-17T17:20:45.288" v="3937" actId="478"/>
          <ac:picMkLst>
            <pc:docMk/>
            <pc:sldMk cId="2046615995" sldId="2147470149"/>
            <ac:picMk id="28" creationId="{A04BF762-9183-9F2E-D555-8159C158E17C}"/>
          </ac:picMkLst>
        </pc:picChg>
        <pc:picChg chg="del mod topLvl">
          <ac:chgData name="Votana Srey" userId="13bee0a8-d205-440d-95f7-48959fdcf002" providerId="ADAL" clId="{0D44528D-A8F9-4657-BEDD-69DBD6A2190B}" dt="2023-02-17T17:20:50.759" v="3938" actId="478"/>
          <ac:picMkLst>
            <pc:docMk/>
            <pc:sldMk cId="2046615995" sldId="2147470149"/>
            <ac:picMk id="29" creationId="{4A71871E-2214-0E4E-A378-3C0E9B4B2E94}"/>
          </ac:picMkLst>
        </pc:picChg>
        <pc:picChg chg="del mod topLvl">
          <ac:chgData name="Votana Srey" userId="13bee0a8-d205-440d-95f7-48959fdcf002" providerId="ADAL" clId="{0D44528D-A8F9-4657-BEDD-69DBD6A2190B}" dt="2023-02-17T17:20:50.759" v="3938" actId="478"/>
          <ac:picMkLst>
            <pc:docMk/>
            <pc:sldMk cId="2046615995" sldId="2147470149"/>
            <ac:picMk id="30" creationId="{2ABD7AA0-2619-1EB0-91B4-67582786C32A}"/>
          </ac:picMkLst>
        </pc:picChg>
        <pc:cxnChg chg="del mod">
          <ac:chgData name="Votana Srey" userId="13bee0a8-d205-440d-95f7-48959fdcf002" providerId="ADAL" clId="{0D44528D-A8F9-4657-BEDD-69DBD6A2190B}" dt="2023-02-17T15:34:18.296" v="3745" actId="478"/>
          <ac:cxnSpMkLst>
            <pc:docMk/>
            <pc:sldMk cId="2046615995" sldId="2147470149"/>
            <ac:cxnSpMk id="46" creationId="{602F906D-80C7-7D46-5BA1-BF7D0A0749FB}"/>
          </ac:cxnSpMkLst>
        </pc:cxnChg>
        <pc:cxnChg chg="del mod">
          <ac:chgData name="Votana Srey" userId="13bee0a8-d205-440d-95f7-48959fdcf002" providerId="ADAL" clId="{0D44528D-A8F9-4657-BEDD-69DBD6A2190B}" dt="2023-02-17T15:34:18.296" v="3745" actId="478"/>
          <ac:cxnSpMkLst>
            <pc:docMk/>
            <pc:sldMk cId="2046615995" sldId="2147470149"/>
            <ac:cxnSpMk id="49" creationId="{7E9A6057-053C-9FC0-A8ED-20057A897CD7}"/>
          </ac:cxnSpMkLst>
        </pc:cxnChg>
        <pc:cxnChg chg="del mod">
          <ac:chgData name="Votana Srey" userId="13bee0a8-d205-440d-95f7-48959fdcf002" providerId="ADAL" clId="{0D44528D-A8F9-4657-BEDD-69DBD6A2190B}" dt="2023-02-17T15:34:18.296" v="3745" actId="478"/>
          <ac:cxnSpMkLst>
            <pc:docMk/>
            <pc:sldMk cId="2046615995" sldId="2147470149"/>
            <ac:cxnSpMk id="55" creationId="{8837F632-5276-16D2-A52F-ECA861077AD2}"/>
          </ac:cxnSpMkLst>
        </pc:cxnChg>
        <pc:cxnChg chg="del mod">
          <ac:chgData name="Votana Srey" userId="13bee0a8-d205-440d-95f7-48959fdcf002" providerId="ADAL" clId="{0D44528D-A8F9-4657-BEDD-69DBD6A2190B}" dt="2023-02-17T15:34:18.296" v="3745" actId="478"/>
          <ac:cxnSpMkLst>
            <pc:docMk/>
            <pc:sldMk cId="2046615995" sldId="2147470149"/>
            <ac:cxnSpMk id="57" creationId="{D28B75DC-A9CB-E728-E157-13918D5DC0B9}"/>
          </ac:cxnSpMkLst>
        </pc:cxnChg>
        <pc:cxnChg chg="del mod">
          <ac:chgData name="Votana Srey" userId="13bee0a8-d205-440d-95f7-48959fdcf002" providerId="ADAL" clId="{0D44528D-A8F9-4657-BEDD-69DBD6A2190B}" dt="2023-02-17T15:34:18.296" v="3745" actId="478"/>
          <ac:cxnSpMkLst>
            <pc:docMk/>
            <pc:sldMk cId="2046615995" sldId="2147470149"/>
            <ac:cxnSpMk id="75" creationId="{159E1332-02F0-CD60-1C58-5B2A3CF6E887}"/>
          </ac:cxnSpMkLst>
        </pc:cxnChg>
        <pc:cxnChg chg="del mod">
          <ac:chgData name="Votana Srey" userId="13bee0a8-d205-440d-95f7-48959fdcf002" providerId="ADAL" clId="{0D44528D-A8F9-4657-BEDD-69DBD6A2190B}" dt="2023-02-17T15:34:18.296" v="3745" actId="478"/>
          <ac:cxnSpMkLst>
            <pc:docMk/>
            <pc:sldMk cId="2046615995" sldId="2147470149"/>
            <ac:cxnSpMk id="85" creationId="{4FDC970F-FA9E-3FAA-C189-C4E16CFA6733}"/>
          </ac:cxnSpMkLst>
        </pc:cxnChg>
        <pc:cxnChg chg="del mod">
          <ac:chgData name="Votana Srey" userId="13bee0a8-d205-440d-95f7-48959fdcf002" providerId="ADAL" clId="{0D44528D-A8F9-4657-BEDD-69DBD6A2190B}" dt="2023-02-17T15:34:18.296" v="3745" actId="478"/>
          <ac:cxnSpMkLst>
            <pc:docMk/>
            <pc:sldMk cId="2046615995" sldId="2147470149"/>
            <ac:cxnSpMk id="87" creationId="{E3E7B0F8-6D84-8BA0-B161-F9DA6B4C12C9}"/>
          </ac:cxnSpMkLst>
        </pc:cxnChg>
        <pc:cxnChg chg="del mod">
          <ac:chgData name="Votana Srey" userId="13bee0a8-d205-440d-95f7-48959fdcf002" providerId="ADAL" clId="{0D44528D-A8F9-4657-BEDD-69DBD6A2190B}" dt="2023-02-17T15:34:18.296" v="3745" actId="478"/>
          <ac:cxnSpMkLst>
            <pc:docMk/>
            <pc:sldMk cId="2046615995" sldId="2147470149"/>
            <ac:cxnSpMk id="91" creationId="{8A759DFB-A41F-0339-404D-DB5E65F76F50}"/>
          </ac:cxnSpMkLst>
        </pc:cxnChg>
        <pc:cxnChg chg="del mod">
          <ac:chgData name="Votana Srey" userId="13bee0a8-d205-440d-95f7-48959fdcf002" providerId="ADAL" clId="{0D44528D-A8F9-4657-BEDD-69DBD6A2190B}" dt="2023-02-17T15:34:18.296" v="3745" actId="478"/>
          <ac:cxnSpMkLst>
            <pc:docMk/>
            <pc:sldMk cId="2046615995" sldId="2147470149"/>
            <ac:cxnSpMk id="93" creationId="{CF4FE45B-5AB0-8E2B-C53D-4AAB1E6A50CD}"/>
          </ac:cxnSpMkLst>
        </pc:cxnChg>
        <pc:cxnChg chg="del mod">
          <ac:chgData name="Votana Srey" userId="13bee0a8-d205-440d-95f7-48959fdcf002" providerId="ADAL" clId="{0D44528D-A8F9-4657-BEDD-69DBD6A2190B}" dt="2023-02-17T15:34:18.296" v="3745" actId="478"/>
          <ac:cxnSpMkLst>
            <pc:docMk/>
            <pc:sldMk cId="2046615995" sldId="2147470149"/>
            <ac:cxnSpMk id="95" creationId="{5E271107-10FC-AD66-D2FF-B581A15C8519}"/>
          </ac:cxnSpMkLst>
        </pc:cxnChg>
        <pc:cxnChg chg="del mod">
          <ac:chgData name="Votana Srey" userId="13bee0a8-d205-440d-95f7-48959fdcf002" providerId="ADAL" clId="{0D44528D-A8F9-4657-BEDD-69DBD6A2190B}" dt="2023-02-17T15:34:18.296" v="3745" actId="478"/>
          <ac:cxnSpMkLst>
            <pc:docMk/>
            <pc:sldMk cId="2046615995" sldId="2147470149"/>
            <ac:cxnSpMk id="97" creationId="{95503A3F-DA5F-3944-FFBB-131DD05FB143}"/>
          </ac:cxnSpMkLst>
        </pc:cxnChg>
        <pc:cxnChg chg="del mod">
          <ac:chgData name="Votana Srey" userId="13bee0a8-d205-440d-95f7-48959fdcf002" providerId="ADAL" clId="{0D44528D-A8F9-4657-BEDD-69DBD6A2190B}" dt="2023-02-17T15:34:18.296" v="3745" actId="478"/>
          <ac:cxnSpMkLst>
            <pc:docMk/>
            <pc:sldMk cId="2046615995" sldId="2147470149"/>
            <ac:cxnSpMk id="99" creationId="{66A29047-54B2-5DEB-D798-FD986F15C5BA}"/>
          </ac:cxnSpMkLst>
        </pc:cxnChg>
        <pc:cxnChg chg="del mod">
          <ac:chgData name="Votana Srey" userId="13bee0a8-d205-440d-95f7-48959fdcf002" providerId="ADAL" clId="{0D44528D-A8F9-4657-BEDD-69DBD6A2190B}" dt="2023-02-17T15:34:18.296" v="3745" actId="478"/>
          <ac:cxnSpMkLst>
            <pc:docMk/>
            <pc:sldMk cId="2046615995" sldId="2147470149"/>
            <ac:cxnSpMk id="101" creationId="{40195256-EC45-D410-0F31-1232A028F394}"/>
          </ac:cxnSpMkLst>
        </pc:cxnChg>
        <pc:cxnChg chg="del mod">
          <ac:chgData name="Votana Srey" userId="13bee0a8-d205-440d-95f7-48959fdcf002" providerId="ADAL" clId="{0D44528D-A8F9-4657-BEDD-69DBD6A2190B}" dt="2023-02-17T15:34:18.296" v="3745" actId="478"/>
          <ac:cxnSpMkLst>
            <pc:docMk/>
            <pc:sldMk cId="2046615995" sldId="2147470149"/>
            <ac:cxnSpMk id="105" creationId="{BF2C9F42-37FF-FDC8-0265-DF1951938614}"/>
          </ac:cxnSpMkLst>
        </pc:cxnChg>
        <pc:cxnChg chg="del mod">
          <ac:chgData name="Votana Srey" userId="13bee0a8-d205-440d-95f7-48959fdcf002" providerId="ADAL" clId="{0D44528D-A8F9-4657-BEDD-69DBD6A2190B}" dt="2023-02-17T15:34:18.296" v="3745" actId="478"/>
          <ac:cxnSpMkLst>
            <pc:docMk/>
            <pc:sldMk cId="2046615995" sldId="2147470149"/>
            <ac:cxnSpMk id="107" creationId="{76A463DB-4F61-82E0-9055-1CCECADE86DC}"/>
          </ac:cxnSpMkLst>
        </pc:cxnChg>
        <pc:cxnChg chg="del mod">
          <ac:chgData name="Votana Srey" userId="13bee0a8-d205-440d-95f7-48959fdcf002" providerId="ADAL" clId="{0D44528D-A8F9-4657-BEDD-69DBD6A2190B}" dt="2023-02-17T15:34:18.296" v="3745" actId="478"/>
          <ac:cxnSpMkLst>
            <pc:docMk/>
            <pc:sldMk cId="2046615995" sldId="2147470149"/>
            <ac:cxnSpMk id="118" creationId="{C2590C04-CED6-A5D6-57D9-A24CBE97B1A2}"/>
          </ac:cxnSpMkLst>
        </pc:cxnChg>
        <pc:cxnChg chg="del mod">
          <ac:chgData name="Votana Srey" userId="13bee0a8-d205-440d-95f7-48959fdcf002" providerId="ADAL" clId="{0D44528D-A8F9-4657-BEDD-69DBD6A2190B}" dt="2023-02-17T15:34:18.296" v="3745" actId="478"/>
          <ac:cxnSpMkLst>
            <pc:docMk/>
            <pc:sldMk cId="2046615995" sldId="2147470149"/>
            <ac:cxnSpMk id="120" creationId="{04DF232F-345F-A667-5FF6-5FE10E3838A8}"/>
          </ac:cxnSpMkLst>
        </pc:cxnChg>
        <pc:cxnChg chg="del mod">
          <ac:chgData name="Votana Srey" userId="13bee0a8-d205-440d-95f7-48959fdcf002" providerId="ADAL" clId="{0D44528D-A8F9-4657-BEDD-69DBD6A2190B}" dt="2023-02-17T15:34:18.296" v="3745" actId="478"/>
          <ac:cxnSpMkLst>
            <pc:docMk/>
            <pc:sldMk cId="2046615995" sldId="2147470149"/>
            <ac:cxnSpMk id="122" creationId="{1ACD4996-46A8-0573-3DC9-ABBDE4C63DC6}"/>
          </ac:cxnSpMkLst>
        </pc:cxnChg>
        <pc:cxnChg chg="del mod">
          <ac:chgData name="Votana Srey" userId="13bee0a8-d205-440d-95f7-48959fdcf002" providerId="ADAL" clId="{0D44528D-A8F9-4657-BEDD-69DBD6A2190B}" dt="2023-02-17T15:34:18.296" v="3745" actId="478"/>
          <ac:cxnSpMkLst>
            <pc:docMk/>
            <pc:sldMk cId="2046615995" sldId="2147470149"/>
            <ac:cxnSpMk id="124" creationId="{123CC454-AF41-DD35-98B9-7774BB5683E8}"/>
          </ac:cxnSpMkLst>
        </pc:cxnChg>
        <pc:cxnChg chg="del mod">
          <ac:chgData name="Votana Srey" userId="13bee0a8-d205-440d-95f7-48959fdcf002" providerId="ADAL" clId="{0D44528D-A8F9-4657-BEDD-69DBD6A2190B}" dt="2023-02-17T15:34:18.296" v="3745" actId="478"/>
          <ac:cxnSpMkLst>
            <pc:docMk/>
            <pc:sldMk cId="2046615995" sldId="2147470149"/>
            <ac:cxnSpMk id="134" creationId="{14AE5EA2-0517-E3D8-AAD4-C145EE54732E}"/>
          </ac:cxnSpMkLst>
        </pc:cxnChg>
        <pc:cxnChg chg="del mod">
          <ac:chgData name="Votana Srey" userId="13bee0a8-d205-440d-95f7-48959fdcf002" providerId="ADAL" clId="{0D44528D-A8F9-4657-BEDD-69DBD6A2190B}" dt="2023-02-17T15:34:18.296" v="3745" actId="478"/>
          <ac:cxnSpMkLst>
            <pc:docMk/>
            <pc:sldMk cId="2046615995" sldId="2147470149"/>
            <ac:cxnSpMk id="136" creationId="{675A552D-2ADB-28B3-7C0C-80824561238C}"/>
          </ac:cxnSpMkLst>
        </pc:cxnChg>
        <pc:cxnChg chg="del mod">
          <ac:chgData name="Votana Srey" userId="13bee0a8-d205-440d-95f7-48959fdcf002" providerId="ADAL" clId="{0D44528D-A8F9-4657-BEDD-69DBD6A2190B}" dt="2023-02-17T15:34:18.296" v="3745" actId="478"/>
          <ac:cxnSpMkLst>
            <pc:docMk/>
            <pc:sldMk cId="2046615995" sldId="2147470149"/>
            <ac:cxnSpMk id="139" creationId="{B4EACEA4-9547-3E54-65E7-906BAACB455C}"/>
          </ac:cxnSpMkLst>
        </pc:cxnChg>
        <pc:cxnChg chg="del mod">
          <ac:chgData name="Votana Srey" userId="13bee0a8-d205-440d-95f7-48959fdcf002" providerId="ADAL" clId="{0D44528D-A8F9-4657-BEDD-69DBD6A2190B}" dt="2023-02-17T15:34:18.296" v="3745" actId="478"/>
          <ac:cxnSpMkLst>
            <pc:docMk/>
            <pc:sldMk cId="2046615995" sldId="2147470149"/>
            <ac:cxnSpMk id="141" creationId="{33966FAF-EFEE-CC81-ADAF-49D0EB371F85}"/>
          </ac:cxnSpMkLst>
        </pc:cxnChg>
        <pc:cxnChg chg="del mod">
          <ac:chgData name="Votana Srey" userId="13bee0a8-d205-440d-95f7-48959fdcf002" providerId="ADAL" clId="{0D44528D-A8F9-4657-BEDD-69DBD6A2190B}" dt="2023-02-17T15:34:18.296" v="3745" actId="478"/>
          <ac:cxnSpMkLst>
            <pc:docMk/>
            <pc:sldMk cId="2046615995" sldId="2147470149"/>
            <ac:cxnSpMk id="145" creationId="{4E9675B6-24BF-FF96-1159-2879607BB817}"/>
          </ac:cxnSpMkLst>
        </pc:cxnChg>
        <pc:cxnChg chg="del mod">
          <ac:chgData name="Votana Srey" userId="13bee0a8-d205-440d-95f7-48959fdcf002" providerId="ADAL" clId="{0D44528D-A8F9-4657-BEDD-69DBD6A2190B}" dt="2023-02-17T15:34:18.296" v="3745" actId="478"/>
          <ac:cxnSpMkLst>
            <pc:docMk/>
            <pc:sldMk cId="2046615995" sldId="2147470149"/>
            <ac:cxnSpMk id="147" creationId="{1C12506A-39D7-B192-B62E-4C2F67A80D6C}"/>
          </ac:cxnSpMkLst>
        </pc:cxnChg>
        <pc:cxnChg chg="del mod">
          <ac:chgData name="Votana Srey" userId="13bee0a8-d205-440d-95f7-48959fdcf002" providerId="ADAL" clId="{0D44528D-A8F9-4657-BEDD-69DBD6A2190B}" dt="2023-02-17T15:34:18.296" v="3745" actId="478"/>
          <ac:cxnSpMkLst>
            <pc:docMk/>
            <pc:sldMk cId="2046615995" sldId="2147470149"/>
            <ac:cxnSpMk id="151" creationId="{6B8B1BC4-6FE1-87D7-5C7A-C46B0492EA45}"/>
          </ac:cxnSpMkLst>
        </pc:cxnChg>
        <pc:cxnChg chg="del mod">
          <ac:chgData name="Votana Srey" userId="13bee0a8-d205-440d-95f7-48959fdcf002" providerId="ADAL" clId="{0D44528D-A8F9-4657-BEDD-69DBD6A2190B}" dt="2023-02-17T15:34:18.296" v="3745" actId="478"/>
          <ac:cxnSpMkLst>
            <pc:docMk/>
            <pc:sldMk cId="2046615995" sldId="2147470149"/>
            <ac:cxnSpMk id="154" creationId="{EA08AA72-21D4-27FC-AB79-D73C70C56376}"/>
          </ac:cxnSpMkLst>
        </pc:cxnChg>
      </pc:sldChg>
      <pc:sldChg chg="modSp add del mod ord">
        <pc:chgData name="Votana Srey" userId="13bee0a8-d205-440d-95f7-48959fdcf002" providerId="ADAL" clId="{0D44528D-A8F9-4657-BEDD-69DBD6A2190B}" dt="2023-02-17T17:34:46.852" v="4139" actId="47"/>
        <pc:sldMkLst>
          <pc:docMk/>
          <pc:sldMk cId="2670329746" sldId="2147470150"/>
        </pc:sldMkLst>
        <pc:spChg chg="mod">
          <ac:chgData name="Votana Srey" userId="13bee0a8-d205-440d-95f7-48959fdcf002" providerId="ADAL" clId="{0D44528D-A8F9-4657-BEDD-69DBD6A2190B}" dt="2023-02-17T17:34:26.201" v="4135" actId="20577"/>
          <ac:spMkLst>
            <pc:docMk/>
            <pc:sldMk cId="2670329746" sldId="2147470150"/>
            <ac:spMk id="4" creationId="{00000000-0000-0000-0000-000000000000}"/>
          </ac:spMkLst>
        </pc:spChg>
      </pc:sldChg>
      <pc:sldChg chg="modSp add mod ord">
        <pc:chgData name="Votana Srey" userId="13bee0a8-d205-440d-95f7-48959fdcf002" providerId="ADAL" clId="{0D44528D-A8F9-4657-BEDD-69DBD6A2190B}" dt="2023-02-17T17:35:07.865" v="4176" actId="14100"/>
        <pc:sldMkLst>
          <pc:docMk/>
          <pc:sldMk cId="1164123289" sldId="2147470151"/>
        </pc:sldMkLst>
        <pc:spChg chg="mod">
          <ac:chgData name="Votana Srey" userId="13bee0a8-d205-440d-95f7-48959fdcf002" providerId="ADAL" clId="{0D44528D-A8F9-4657-BEDD-69DBD6A2190B}" dt="2023-02-17T17:35:07.865" v="4176" actId="14100"/>
          <ac:spMkLst>
            <pc:docMk/>
            <pc:sldMk cId="1164123289" sldId="2147470151"/>
            <ac:spMk id="3" creationId="{B4E3B212-F10D-EFE6-B6CF-6EC1B98DB0ED}"/>
          </ac:spMkLst>
        </pc:spChg>
      </pc:sldChg>
      <pc:sldMasterChg chg="addSldLayout delSldLayout">
        <pc:chgData name="Votana Srey" userId="13bee0a8-d205-440d-95f7-48959fdcf002" providerId="ADAL" clId="{0D44528D-A8F9-4657-BEDD-69DBD6A2190B}" dt="2023-02-09T04:38:37.446" v="2647" actId="47"/>
        <pc:sldMasterMkLst>
          <pc:docMk/>
          <pc:sldMasterMk cId="0" sldId="2147483648"/>
        </pc:sldMasterMkLst>
        <pc:sldLayoutChg chg="del">
          <pc:chgData name="Votana Srey" userId="13bee0a8-d205-440d-95f7-48959fdcf002" providerId="ADAL" clId="{0D44528D-A8F9-4657-BEDD-69DBD6A2190B}" dt="2023-02-02T18:07:45.394" v="2015" actId="47"/>
          <pc:sldLayoutMkLst>
            <pc:docMk/>
            <pc:sldMasterMk cId="0" sldId="2147483648"/>
            <pc:sldLayoutMk cId="958441043" sldId="2147483663"/>
          </pc:sldLayoutMkLst>
        </pc:sldLayoutChg>
        <pc:sldLayoutChg chg="add del">
          <pc:chgData name="Votana Srey" userId="13bee0a8-d205-440d-95f7-48959fdcf002" providerId="ADAL" clId="{0D44528D-A8F9-4657-BEDD-69DBD6A2190B}" dt="2023-02-02T18:07:40.376" v="2005" actId="47"/>
          <pc:sldLayoutMkLst>
            <pc:docMk/>
            <pc:sldMasterMk cId="0" sldId="2147483648"/>
            <pc:sldLayoutMk cId="1258919452" sldId="2147483668"/>
          </pc:sldLayoutMkLst>
        </pc:sldLayoutChg>
        <pc:sldLayoutChg chg="del">
          <pc:chgData name="Votana Srey" userId="13bee0a8-d205-440d-95f7-48959fdcf002" providerId="ADAL" clId="{0D44528D-A8F9-4657-BEDD-69DBD6A2190B}" dt="2023-02-02T18:07:47.641" v="2020" actId="47"/>
          <pc:sldLayoutMkLst>
            <pc:docMk/>
            <pc:sldMasterMk cId="0" sldId="2147483648"/>
            <pc:sldLayoutMk cId="833169206" sldId="2147483678"/>
          </pc:sldLayoutMkLst>
        </pc:sldLayoutChg>
        <pc:sldLayoutChg chg="del">
          <pc:chgData name="Votana Srey" userId="13bee0a8-d205-440d-95f7-48959fdcf002" providerId="ADAL" clId="{0D44528D-A8F9-4657-BEDD-69DBD6A2190B}" dt="2023-02-02T18:07:46.891" v="2018" actId="47"/>
          <pc:sldLayoutMkLst>
            <pc:docMk/>
            <pc:sldMasterMk cId="0" sldId="2147483648"/>
            <pc:sldLayoutMk cId="1708518686" sldId="2147483679"/>
          </pc:sldLayoutMkLst>
        </pc:sldLayoutChg>
        <pc:sldLayoutChg chg="del">
          <pc:chgData name="Votana Srey" userId="13bee0a8-d205-440d-95f7-48959fdcf002" providerId="ADAL" clId="{0D44528D-A8F9-4657-BEDD-69DBD6A2190B}" dt="2023-02-02T17:37:09.074" v="1134" actId="47"/>
          <pc:sldLayoutMkLst>
            <pc:docMk/>
            <pc:sldMasterMk cId="0" sldId="2147483648"/>
            <pc:sldLayoutMk cId="767295348" sldId="2147483824"/>
          </pc:sldLayoutMkLst>
        </pc:sldLayoutChg>
        <pc:sldLayoutChg chg="del">
          <pc:chgData name="Votana Srey" userId="13bee0a8-d205-440d-95f7-48959fdcf002" providerId="ADAL" clId="{0D44528D-A8F9-4657-BEDD-69DBD6A2190B}" dt="2023-02-09T04:38:37.446" v="2647" actId="47"/>
          <pc:sldLayoutMkLst>
            <pc:docMk/>
            <pc:sldMasterMk cId="0" sldId="2147483648"/>
            <pc:sldLayoutMk cId="2511433616" sldId="21474838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0E9A71A-9D71-B4CA-77D1-2CB4B126AE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Tijdelijke aanduiding voor datum 2">
            <a:extLst>
              <a:ext uri="{FF2B5EF4-FFF2-40B4-BE49-F238E27FC236}">
                <a16:creationId xmlns:a16="http://schemas.microsoft.com/office/drawing/2014/main" id="{CA2C803A-9DE6-6894-7A83-0DCC38BE65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D84832-1396-44BE-B280-AAD8F4713EAD}" type="datetimeFigureOut">
              <a:rPr lang="de-DE" smtClean="0"/>
              <a:t>10.03.2023</a:t>
            </a:fld>
            <a:endParaRPr lang="de-DE"/>
          </a:p>
        </p:txBody>
      </p:sp>
      <p:sp>
        <p:nvSpPr>
          <p:cNvPr id="4" name="Tijdelijke aanduiding voor voettekst 3">
            <a:extLst>
              <a:ext uri="{FF2B5EF4-FFF2-40B4-BE49-F238E27FC236}">
                <a16:creationId xmlns:a16="http://schemas.microsoft.com/office/drawing/2014/main" id="{7219CABC-1589-9D94-A03C-1CB3C3F64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Tijdelijke aanduiding voor dianummer 4">
            <a:extLst>
              <a:ext uri="{FF2B5EF4-FFF2-40B4-BE49-F238E27FC236}">
                <a16:creationId xmlns:a16="http://schemas.microsoft.com/office/drawing/2014/main" id="{DE222109-9E3B-AF46-BD19-D4FE4A893F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F4DBC9-74C0-43D8-A63D-BF34247CFEBF}" type="slidenum">
              <a:rPr lang="de-DE" smtClean="0"/>
              <a:t>‹#›</a:t>
            </a:fld>
            <a:endParaRPr lang="de-DE"/>
          </a:p>
        </p:txBody>
      </p:sp>
    </p:spTree>
    <p:extLst>
      <p:ext uri="{BB962C8B-B14F-4D97-AF65-F5344CB8AC3E}">
        <p14:creationId xmlns:p14="http://schemas.microsoft.com/office/powerpoint/2010/main" val="4073321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381000" y="685800"/>
            <a:ext cx="6096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594" latinLnBrk="0">
      <a:lnSpc>
        <a:spcPct val="117999"/>
      </a:lnSpc>
      <a:defRPr sz="1100">
        <a:latin typeface="Helvetica Neue"/>
        <a:ea typeface="Helvetica Neue"/>
        <a:cs typeface="Helvetica Neue"/>
        <a:sym typeface="Helvetica Neue"/>
      </a:defRPr>
    </a:lvl1pPr>
    <a:lvl2pPr indent="114297" defTabSz="228594" latinLnBrk="0">
      <a:lnSpc>
        <a:spcPct val="117999"/>
      </a:lnSpc>
      <a:defRPr sz="1100">
        <a:latin typeface="Helvetica Neue"/>
        <a:ea typeface="Helvetica Neue"/>
        <a:cs typeface="Helvetica Neue"/>
        <a:sym typeface="Helvetica Neue"/>
      </a:defRPr>
    </a:lvl2pPr>
    <a:lvl3pPr indent="228594" defTabSz="228594" latinLnBrk="0">
      <a:lnSpc>
        <a:spcPct val="117999"/>
      </a:lnSpc>
      <a:defRPr sz="1100">
        <a:latin typeface="Helvetica Neue"/>
        <a:ea typeface="Helvetica Neue"/>
        <a:cs typeface="Helvetica Neue"/>
        <a:sym typeface="Helvetica Neue"/>
      </a:defRPr>
    </a:lvl3pPr>
    <a:lvl4pPr indent="342891" defTabSz="228594" latinLnBrk="0">
      <a:lnSpc>
        <a:spcPct val="117999"/>
      </a:lnSpc>
      <a:defRPr sz="1100">
        <a:latin typeface="Helvetica Neue"/>
        <a:ea typeface="Helvetica Neue"/>
        <a:cs typeface="Helvetica Neue"/>
        <a:sym typeface="Helvetica Neue"/>
      </a:defRPr>
    </a:lvl4pPr>
    <a:lvl5pPr indent="457189" defTabSz="228594" latinLnBrk="0">
      <a:lnSpc>
        <a:spcPct val="117999"/>
      </a:lnSpc>
      <a:defRPr sz="1100">
        <a:latin typeface="Helvetica Neue"/>
        <a:ea typeface="Helvetica Neue"/>
        <a:cs typeface="Helvetica Neue"/>
        <a:sym typeface="Helvetica Neue"/>
      </a:defRPr>
    </a:lvl5pPr>
    <a:lvl6pPr indent="571486" defTabSz="228594" latinLnBrk="0">
      <a:lnSpc>
        <a:spcPct val="117999"/>
      </a:lnSpc>
      <a:defRPr sz="1100">
        <a:latin typeface="Helvetica Neue"/>
        <a:ea typeface="Helvetica Neue"/>
        <a:cs typeface="Helvetica Neue"/>
        <a:sym typeface="Helvetica Neue"/>
      </a:defRPr>
    </a:lvl6pPr>
    <a:lvl7pPr indent="685783" defTabSz="228594" latinLnBrk="0">
      <a:lnSpc>
        <a:spcPct val="117999"/>
      </a:lnSpc>
      <a:defRPr sz="1100">
        <a:latin typeface="Helvetica Neue"/>
        <a:ea typeface="Helvetica Neue"/>
        <a:cs typeface="Helvetica Neue"/>
        <a:sym typeface="Helvetica Neue"/>
      </a:defRPr>
    </a:lvl7pPr>
    <a:lvl8pPr indent="800080" defTabSz="228594" latinLnBrk="0">
      <a:lnSpc>
        <a:spcPct val="117999"/>
      </a:lnSpc>
      <a:defRPr sz="1100">
        <a:latin typeface="Helvetica Neue"/>
        <a:ea typeface="Helvetica Neue"/>
        <a:cs typeface="Helvetica Neue"/>
        <a:sym typeface="Helvetica Neue"/>
      </a:defRPr>
    </a:lvl8pPr>
    <a:lvl9pPr indent="914377" defTabSz="228594"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222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4</a:t>
            </a:fld>
            <a:endParaRPr lang="en-UK"/>
          </a:p>
        </p:txBody>
      </p:sp>
    </p:spTree>
    <p:extLst>
      <p:ext uri="{BB962C8B-B14F-4D97-AF65-F5344CB8AC3E}">
        <p14:creationId xmlns:p14="http://schemas.microsoft.com/office/powerpoint/2010/main" val="36038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493374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311461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6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219757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954082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64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xml"/><Relationship Id="rId7"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24.emf"/><Relationship Id="rId4" Type="http://schemas.openxmlformats.org/officeDocument/2006/relationships/tags" Target="../tags/tag31.xml"/><Relationship Id="rId9"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5.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9.xml"/><Relationship Id="rId7" Type="http://schemas.openxmlformats.org/officeDocument/2006/relationships/oleObject" Target="../embeddings/oleObject7.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25.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0.xml"/><Relationship Id="rId7"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24.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2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24.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26.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4.xml"/><Relationship Id="rId7"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image" Target="../media/image24.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0.xml"/><Relationship Id="rId7"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24.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6.xml"/><Relationship Id="rId7"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24.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4.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26.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4.xml"/><Relationship Id="rId7"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4.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20.xml"/><Relationship Id="rId7"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5.emf"/></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5.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311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userDrawn="1">
          <p15:clr>
            <a:srgbClr val="FBAE40"/>
          </p15:clr>
        </p15:guide>
        <p15:guide id="2" pos="3572" userDrawn="1">
          <p15:clr>
            <a:srgbClr val="FBAE40"/>
          </p15:clr>
        </p15:guide>
        <p15:guide id="3" orient="horz" pos="178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0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9831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072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22296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414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77000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2453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2752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50932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8731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426976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2752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82160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3418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Empty with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5"/>
          <p:cNvSpPr txBox="1">
            <a:spLocks/>
          </p:cNvSpPr>
          <p:nvPr userDrawn="1"/>
        </p:nvSpPr>
        <p:spPr>
          <a:xfrm>
            <a:off x="11716028" y="6434185"/>
            <a:ext cx="509475" cy="398508"/>
          </a:xfrm>
          <a:prstGeom prst="rect">
            <a:avLst/>
          </a:prstGeom>
        </p:spPr>
        <p:txBody>
          <a:bodyPr anchor="b"/>
          <a:lstStyle>
            <a:lvl1pPr algn="ctr" defTabSz="1219170" rtl="0" eaLnBrk="1" latinLnBrk="0" hangingPunct="1">
              <a:spcBef>
                <a:spcPct val="0"/>
              </a:spcBef>
              <a:buNone/>
              <a:defRPr sz="3733" kern="1200">
                <a:solidFill>
                  <a:schemeClr val="tx2"/>
                </a:solidFill>
                <a:latin typeface="+mn-lt"/>
                <a:ea typeface="+mj-ea"/>
                <a:cs typeface="+mj-cs"/>
              </a:defRPr>
            </a:lvl1pPr>
          </a:lstStyle>
          <a:p>
            <a:pPr algn="r"/>
            <a:endParaRPr lang="en-US" sz="1200" b="1" noProof="0">
              <a:solidFill>
                <a:schemeClr val="bg1"/>
              </a:solidFill>
              <a:latin typeface="+mj-lt"/>
              <a:cs typeface="Calibri Light" panose="020F0302020204030204" pitchFamily="34" charset="0"/>
            </a:endParaRPr>
          </a:p>
        </p:txBody>
      </p:sp>
      <p:sp>
        <p:nvSpPr>
          <p:cNvPr id="16" name="Marcador de texto 7"/>
          <p:cNvSpPr>
            <a:spLocks noGrp="1"/>
          </p:cNvSpPr>
          <p:nvPr>
            <p:ph type="body" sz="quarter" idx="16" hasCustomPrompt="1"/>
          </p:nvPr>
        </p:nvSpPr>
        <p:spPr>
          <a:xfrm>
            <a:off x="304800" y="152400"/>
            <a:ext cx="11799425" cy="464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buNone/>
              <a:defRPr lang="en-US" sz="2000" b="1" cap="all" baseline="0" noProof="0" dirty="0">
                <a:solidFill>
                  <a:schemeClr val="tx2"/>
                </a:solidFill>
                <a:ea typeface="+mj-ea"/>
                <a:cs typeface="+mj-cs"/>
              </a:defRPr>
            </a:lvl1pPr>
          </a:lstStyle>
          <a:p>
            <a:pPr lvl="0">
              <a:lnSpc>
                <a:spcPct val="100000"/>
              </a:lnSpc>
            </a:pPr>
            <a:r>
              <a:rPr lang="en-US" noProof="0"/>
              <a:t>Slide Title</a:t>
            </a:r>
          </a:p>
        </p:txBody>
      </p:sp>
      <p:sp>
        <p:nvSpPr>
          <p:cNvPr id="6" name="Slide Number Placeholder 2">
            <a:extLst>
              <a:ext uri="{FF2B5EF4-FFF2-40B4-BE49-F238E27FC236}">
                <a16:creationId xmlns:a16="http://schemas.microsoft.com/office/drawing/2014/main" id="{6BC41B74-16FC-4283-8BED-C24718F2974E}"/>
              </a:ext>
            </a:extLst>
          </p:cNvPr>
          <p:cNvSpPr>
            <a:spLocks noGrp="1"/>
          </p:cNvSpPr>
          <p:nvPr>
            <p:ph type="sldNum" sz="quarter" idx="10"/>
          </p:nvPr>
        </p:nvSpPr>
        <p:spPr>
          <a:xfrm>
            <a:off x="463551" y="6314638"/>
            <a:ext cx="960967" cy="360362"/>
          </a:xfrm>
        </p:spPr>
        <p:txBody>
          <a:bodyPr/>
          <a:lstStyle>
            <a:lvl1pPr>
              <a:defRPr sz="1000"/>
            </a:lvl1pPr>
          </a:lstStyle>
          <a:p>
            <a:fld id="{AFCE829D-CFE5-4030-8F29-589686D6727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767862193"/>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23788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dirty="0"/>
              <a:t>Click to edit the main title</a:t>
            </a:r>
            <a:endParaRPr lang="en-US" dirty="0"/>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dirty="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dirty="0">
                <a:solidFill>
                  <a:srgbClr val="D3D3D3"/>
                </a:solidFill>
                <a:latin typeface="HEINEKEN Core" panose="02000503050000020004" pitchFamily="2" charset="0"/>
              </a:rPr>
              <a:t>Master Data Management</a:t>
            </a:r>
            <a:endParaRPr lang="en-GB" b="1" dirty="0">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82900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40BCDEC3-1613-A6EF-E62C-1A9E8082DFB1}"/>
              </a:ext>
            </a:extLst>
          </p:cNvPr>
          <p:cNvSpPr>
            <a:spLocks noGrp="1"/>
          </p:cNvSpPr>
          <p:nvPr>
            <p:ph type="pic" sz="quarter" idx="14"/>
          </p:nvPr>
        </p:nvSpPr>
        <p:spPr>
          <a:xfrm>
            <a:off x="7419698" y="0"/>
            <a:ext cx="4772305" cy="6858000"/>
          </a:xfrm>
          <a:custGeom>
            <a:avLst/>
            <a:gdLst>
              <a:gd name="connsiteX0" fmla="*/ 0 w 3579229"/>
              <a:gd name="connsiteY0" fmla="*/ 0 h 5143500"/>
              <a:gd name="connsiteX1" fmla="*/ 3579229 w 3579229"/>
              <a:gd name="connsiteY1" fmla="*/ 0 h 5143500"/>
              <a:gd name="connsiteX2" fmla="*/ 3579229 w 3579229"/>
              <a:gd name="connsiteY2" fmla="*/ 5143500 h 5143500"/>
              <a:gd name="connsiteX3" fmla="*/ 11237 w 3579229"/>
              <a:gd name="connsiteY3" fmla="*/ 5143500 h 5143500"/>
              <a:gd name="connsiteX4" fmla="*/ 913896 w 3579229"/>
              <a:gd name="connsiteY4" fmla="*/ 2579654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229" h="5143500">
                <a:moveTo>
                  <a:pt x="0" y="0"/>
                </a:moveTo>
                <a:lnTo>
                  <a:pt x="3579229" y="0"/>
                </a:lnTo>
                <a:lnTo>
                  <a:pt x="3579229" y="5143500"/>
                </a:lnTo>
                <a:lnTo>
                  <a:pt x="11237" y="5143500"/>
                </a:lnTo>
                <a:lnTo>
                  <a:pt x="913896" y="2579654"/>
                </a:lnTo>
                <a:close/>
              </a:path>
            </a:pathLst>
          </a:custGeom>
          <a:solidFill>
            <a:schemeClr val="bg2">
              <a:alpha val="10000"/>
            </a:schemeClr>
          </a:solidFill>
        </p:spPr>
        <p:txBody>
          <a:bodyPr wrap="square" lIns="180000" tIns="180000" rIns="180000" bIns="180000">
            <a:noAutofit/>
          </a:bodyPr>
          <a:lstStyle>
            <a:lvl1pPr algn="r">
              <a:defRPr>
                <a:solidFill>
                  <a:schemeClr val="tx1"/>
                </a:solidFill>
              </a:defRPr>
            </a:lvl1pPr>
          </a:lstStyle>
          <a:p>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355961"/>
            <a:ext cx="7203527"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2431413" y="6446580"/>
            <a:ext cx="64" cy="184666"/>
          </a:xfrm>
          <a:prstGeom prst="rect">
            <a:avLst/>
          </a:prstGeom>
        </p:spPr>
        <p:txBody>
          <a:bodyPr vert="horz" wrap="none" lIns="0" tIns="0" rIns="0" bIns="0" rtlCol="0" anchor="ctr">
            <a:spAutoFit/>
          </a:bodyPr>
          <a:lstStyle>
            <a:lvl1pPr algn="ctr" rtl="0">
              <a:defRPr sz="1200">
                <a:solidFill>
                  <a:schemeClr val="tx1"/>
                </a:solidFill>
                <a:latin typeface="HEINEKEN Core" panose="02000503050000020004" pitchFamily="2" charset="0"/>
                <a:sym typeface="HEINEKEN Core" panose="02000503050000020004" pitchFamily="2" charset="0"/>
              </a:defRPr>
            </a:lvl1pPr>
          </a:lstStyle>
          <a:p>
            <a:endParaRPr lang="en-US"/>
          </a:p>
        </p:txBody>
      </p:sp>
      <p:sp>
        <p:nvSpPr>
          <p:cNvPr id="3" name="Slide Number Placeholder 1">
            <a:extLst>
              <a:ext uri="{FF2B5EF4-FFF2-40B4-BE49-F238E27FC236}">
                <a16:creationId xmlns:a16="http://schemas.microsoft.com/office/drawing/2014/main" id="{D864435E-DAFF-01F6-1205-1A66ED5A6B8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721423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gacy white">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BB1E31CD-261F-582B-0B08-26920C67EDC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39690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Green [Gradient]">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6FEB4DF1-5FE4-EEF6-38DF-5E34330B2E0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873689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2941712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629100"/>
            <a:ext cx="110825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51990"/>
            <a:ext cx="11082528" cy="276999"/>
          </a:xfrm>
          <a:prstGeom prst="rect">
            <a:avLst/>
          </a:prstGeom>
        </p:spPr>
        <p:txBody>
          <a:bodyPr vert="horz" wrap="square" lIns="0" tIns="0" rIns="0" bIns="0" rtlCol="0">
            <a:spAutoFit/>
          </a:bodyPr>
          <a:lstStyle>
            <a:lvl1pPr rtl="0">
              <a:defRPr lang="en-US" sz="1800" b="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6CE4CC53-9CE9-8869-51D1-C1AFB00F22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460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p:custDataLst>
              <p:tags r:id="rId1"/>
            </p:custDataLst>
            <p:extLst>
              <p:ext uri="{D42A27DB-BD31-4B8C-83A1-F6EECF244321}">
                <p14:modId xmlns:p14="http://schemas.microsoft.com/office/powerpoint/2010/main" val="5130504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410433"/>
          </a:xfrm>
          <a:prstGeom prst="rect">
            <a:avLst/>
          </a:prstGeom>
        </p:spPr>
        <p:txBody>
          <a:bodyPr vert="horz" anchor="t">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1958A1F4-64F8-EE81-C7B0-4B622C9F36B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36105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extLst>
              <p:ext uri="{D42A27DB-BD31-4B8C-83A1-F6EECF244321}">
                <p14:modId xmlns:p14="http://schemas.microsoft.com/office/powerpoint/2010/main" val="650058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23785"/>
            <a:ext cx="5065776" cy="410433"/>
          </a:xfrm>
          <a:prstGeom prst="rect">
            <a:avLst/>
          </a:prstGeom>
        </p:spPr>
        <p:txBody>
          <a:bodyPr vert="horz" rIns="365760" anchor="ctr">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6" name="Slide Number Placeholder 1">
            <a:extLst>
              <a:ext uri="{FF2B5EF4-FFF2-40B4-BE49-F238E27FC236}">
                <a16:creationId xmlns:a16="http://schemas.microsoft.com/office/drawing/2014/main" id="{31BB8892-1691-D909-AB18-941EDC6A6B0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485591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extLst>
              <p:ext uri="{D42A27DB-BD31-4B8C-83A1-F6EECF244321}">
                <p14:modId xmlns:p14="http://schemas.microsoft.com/office/powerpoint/2010/main" val="2209025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718969"/>
            <a:ext cx="11082528" cy="538609"/>
          </a:xfrm>
        </p:spPr>
        <p:txBody>
          <a:bodyPr vert="horz" anchor="b">
            <a:spAutoFit/>
          </a:bodyPr>
          <a:lstStyle>
            <a:lvl1pPr>
              <a:lnSpc>
                <a:spcPct val="100000"/>
              </a:lnSpc>
              <a:defRPr sz="3500">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6" name="5. Source" hidden="1">
            <a:extLst>
              <a:ext uri="{FF2B5EF4-FFF2-40B4-BE49-F238E27FC236}">
                <a16:creationId xmlns:a16="http://schemas.microsoft.com/office/drawing/2014/main" id="{B871FE09-BB6E-4334-B0EA-E52395AA61B3}"/>
              </a:ext>
            </a:extLst>
          </p:cNvPr>
          <p:cNvSpPr txBox="1"/>
          <p:nvPr>
            <p:custDataLst>
              <p:tags r:id="rId4"/>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4E44FB6C-17C1-6A36-6F70-29EDD7C4FB9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58292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7446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extLst>
              <p:ext uri="{D42A27DB-BD31-4B8C-83A1-F6EECF244321}">
                <p14:modId xmlns:p14="http://schemas.microsoft.com/office/powerpoint/2010/main" val="7245758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30"/>
            <a:ext cx="9180576" cy="523220"/>
          </a:xfrm>
          <a:prstGeom prst="rect">
            <a:avLst/>
          </a:prstGeom>
        </p:spPr>
        <p:txBody>
          <a:bodyPr vert="horz">
            <a:spAutoFit/>
          </a:bodyPr>
          <a:lstStyle>
            <a:lvl1pPr>
              <a:lnSpc>
                <a:spcPct val="105000"/>
              </a:lnSpc>
              <a:defRPr sz="3400">
                <a:latin typeface="HEINEKEN Core" panose="02000503050000020004" pitchFamily="2" charset="0"/>
                <a:sym typeface="HEINEKEN Core" panose="02000503050000020004" pitchFamily="2" charset="0"/>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4" name="Slide Number Placeholder 1">
            <a:extLst>
              <a:ext uri="{FF2B5EF4-FFF2-40B4-BE49-F238E27FC236}">
                <a16:creationId xmlns:a16="http://schemas.microsoft.com/office/drawing/2014/main" id="{CDAC0F49-912F-D72F-E398-B23A3244288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95200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70982331-002C-77F7-F784-6EB0D485922C}"/>
              </a:ext>
            </a:extLst>
          </p:cNvPr>
          <p:cNvSpPr/>
          <p:nvPr userDrawn="1"/>
        </p:nvSpPr>
        <p:spPr>
          <a:xfrm>
            <a:off x="3413761" y="0"/>
            <a:ext cx="8778241" cy="6858000"/>
          </a:xfrm>
          <a:prstGeom prst="rect">
            <a:avLst/>
          </a:prstGeom>
          <a:gradFill>
            <a:gsLst>
              <a:gs pos="21000">
                <a:schemeClr val="accent3">
                  <a:lumMod val="85000"/>
                </a:schemeClr>
              </a:gs>
              <a:gs pos="92000">
                <a:schemeClr val="accent3"/>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59437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CB79E855-070A-E9B2-65A1-9F359302C8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01461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AA7789E7-D657-2558-B2D0-D1636D953C51}"/>
              </a:ext>
            </a:extLst>
          </p:cNvPr>
          <p:cNvSpPr/>
          <p:nvPr userDrawn="1"/>
        </p:nvSpPr>
        <p:spPr>
          <a:xfrm>
            <a:off x="4364737" y="0"/>
            <a:ext cx="7827265"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1118228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FCF66F7D-CB57-FA3D-C8EA-7C34BD2776B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41427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sp>
        <p:nvSpPr>
          <p:cNvPr id="17" name="Rechthoek 16">
            <a:extLst>
              <a:ext uri="{FF2B5EF4-FFF2-40B4-BE49-F238E27FC236}">
                <a16:creationId xmlns:a16="http://schemas.microsoft.com/office/drawing/2014/main" id="{91BDEE87-5539-D930-A635-EBB65801BACA}"/>
              </a:ext>
            </a:extLst>
          </p:cNvPr>
          <p:cNvSpPr/>
          <p:nvPr userDrawn="1"/>
        </p:nvSpPr>
        <p:spPr>
          <a:xfrm>
            <a:off x="6089905" y="0"/>
            <a:ext cx="6102096"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621174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27248475-D28B-89BC-BA9D-94790F6ABA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129240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1A3BAE26-E557-158D-4B7C-ADCB855A7FC8}"/>
              </a:ext>
            </a:extLst>
          </p:cNvPr>
          <p:cNvSpPr/>
          <p:nvPr userDrawn="1"/>
        </p:nvSpPr>
        <p:spPr>
          <a:xfrm>
            <a:off x="7830312" y="0"/>
            <a:ext cx="4361689"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419759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DA564E77-8A8F-056E-C4B8-0147C5BBA53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15264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AA70E0BB-084F-C80E-00DE-D79D7EB36508}"/>
              </a:ext>
            </a:extLst>
          </p:cNvPr>
          <p:cNvSpPr/>
          <p:nvPr userDrawn="1"/>
        </p:nvSpPr>
        <p:spPr>
          <a:xfrm>
            <a:off x="8781416" y="0"/>
            <a:ext cx="3410584"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5904804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9EA038F4-AB88-E6A4-16C3-0AA811EEF72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339782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FF7BA1CB-903D-0C45-72AA-670F7CEC1353}"/>
              </a:ext>
            </a:extLst>
          </p:cNvPr>
          <p:cNvSpPr>
            <a:spLocks noGrp="1"/>
          </p:cNvSpPr>
          <p:nvPr>
            <p:ph type="pic" sz="quarter" idx="12"/>
          </p:nvPr>
        </p:nvSpPr>
        <p:spPr>
          <a:xfrm>
            <a:off x="3413760" y="0"/>
            <a:ext cx="8778240"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28661501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A72D242B-ED88-0FF1-C804-4DC4537A00B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786200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8233851F-9E32-ABD6-024B-093CB91B4F16}"/>
              </a:ext>
            </a:extLst>
          </p:cNvPr>
          <p:cNvSpPr>
            <a:spLocks noGrp="1"/>
          </p:cNvSpPr>
          <p:nvPr>
            <p:ph type="pic" sz="quarter" idx="12"/>
          </p:nvPr>
        </p:nvSpPr>
        <p:spPr>
          <a:xfrm>
            <a:off x="4364736" y="0"/>
            <a:ext cx="7827264"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7579615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EB01AE8E-9E97-DD92-899D-0F4DAFB5DA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88174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97C45A9F-41EB-DE4D-0408-E1A792E7A7FF}"/>
              </a:ext>
            </a:extLst>
          </p:cNvPr>
          <p:cNvSpPr>
            <a:spLocks noGrp="1"/>
          </p:cNvSpPr>
          <p:nvPr>
            <p:ph type="pic" sz="quarter" idx="12"/>
          </p:nvPr>
        </p:nvSpPr>
        <p:spPr>
          <a:xfrm>
            <a:off x="6092952" y="0"/>
            <a:ext cx="609904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2870704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051AE230-2E4F-1D54-1E03-E64C849AD7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968775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357FE554-3AAF-19DE-3364-2D9FF16DC66D}"/>
              </a:ext>
            </a:extLst>
          </p:cNvPr>
          <p:cNvSpPr>
            <a:spLocks noGrp="1"/>
          </p:cNvSpPr>
          <p:nvPr>
            <p:ph type="pic" sz="quarter" idx="12"/>
          </p:nvPr>
        </p:nvSpPr>
        <p:spPr>
          <a:xfrm>
            <a:off x="7830312" y="0"/>
            <a:ext cx="436168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4368993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75604244-4C3E-2BC2-7D3C-D9F12D0EDEF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98015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333746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05F7E1AE-65A5-F23B-87E9-CF50B45CA81F}"/>
              </a:ext>
            </a:extLst>
          </p:cNvPr>
          <p:cNvSpPr>
            <a:spLocks noGrp="1"/>
          </p:cNvSpPr>
          <p:nvPr>
            <p:ph type="pic" sz="quarter" idx="12"/>
          </p:nvPr>
        </p:nvSpPr>
        <p:spPr>
          <a:xfrm>
            <a:off x="8782051" y="0"/>
            <a:ext cx="3409949"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3210325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12" name="Tijdelijke aanduiding voor tekst 11">
            <a:extLst>
              <a:ext uri="{FF2B5EF4-FFF2-40B4-BE49-F238E27FC236}">
                <a16:creationId xmlns:a16="http://schemas.microsoft.com/office/drawing/2014/main" id="{505DEE44-9083-5658-4211-5B4E92DF0D61}"/>
              </a:ext>
            </a:extLst>
          </p:cNvPr>
          <p:cNvSpPr>
            <a:spLocks noGrp="1"/>
          </p:cNvSpPr>
          <p:nvPr>
            <p:ph type="body" sz="quarter" idx="11" hasCustomPrompt="1"/>
          </p:nvPr>
        </p:nvSpPr>
        <p:spPr>
          <a:xfrm>
            <a:off x="10192308" y="6476420"/>
            <a:ext cx="1065120" cy="150024"/>
          </a:xfrm>
          <a:custGeom>
            <a:avLst/>
            <a:gdLst>
              <a:gd name="connsiteX0" fmla="*/ 707848 w 798840"/>
              <a:gd name="connsiteY0" fmla="*/ 595 h 112518"/>
              <a:gd name="connsiteX1" fmla="*/ 722619 w 798840"/>
              <a:gd name="connsiteY1" fmla="*/ 595 h 112518"/>
              <a:gd name="connsiteX2" fmla="*/ 739163 w 798840"/>
              <a:gd name="connsiteY2" fmla="*/ 9520 h 112518"/>
              <a:gd name="connsiteX3" fmla="*/ 772842 w 798840"/>
              <a:gd name="connsiteY3" fmla="*/ 63073 h 112518"/>
              <a:gd name="connsiteX4" fmla="*/ 771661 w 798840"/>
              <a:gd name="connsiteY4" fmla="*/ 51172 h 112518"/>
              <a:gd name="connsiteX5" fmla="*/ 771661 w 798840"/>
              <a:gd name="connsiteY5" fmla="*/ 595 h 112518"/>
              <a:gd name="connsiteX6" fmla="*/ 798840 w 798840"/>
              <a:gd name="connsiteY6" fmla="*/ 595 h 112518"/>
              <a:gd name="connsiteX7" fmla="*/ 798840 w 798840"/>
              <a:gd name="connsiteY7" fmla="*/ 4760 h 112518"/>
              <a:gd name="connsiteX8" fmla="*/ 794113 w 798840"/>
              <a:gd name="connsiteY8" fmla="*/ 12496 h 112518"/>
              <a:gd name="connsiteX9" fmla="*/ 794113 w 798840"/>
              <a:gd name="connsiteY9" fmla="*/ 106510 h 112518"/>
              <a:gd name="connsiteX10" fmla="*/ 788205 w 798840"/>
              <a:gd name="connsiteY10" fmla="*/ 112460 h 112518"/>
              <a:gd name="connsiteX11" fmla="*/ 769888 w 798840"/>
              <a:gd name="connsiteY11" fmla="*/ 112460 h 112518"/>
              <a:gd name="connsiteX12" fmla="*/ 729710 w 798840"/>
              <a:gd name="connsiteY12" fmla="*/ 48197 h 112518"/>
              <a:gd name="connsiteX13" fmla="*/ 730300 w 798840"/>
              <a:gd name="connsiteY13" fmla="*/ 60098 h 112518"/>
              <a:gd name="connsiteX14" fmla="*/ 730300 w 798840"/>
              <a:gd name="connsiteY14" fmla="*/ 112460 h 112518"/>
              <a:gd name="connsiteX15" fmla="*/ 707848 w 798840"/>
              <a:gd name="connsiteY15" fmla="*/ 112460 h 112518"/>
              <a:gd name="connsiteX16" fmla="*/ 609765 w 798840"/>
              <a:gd name="connsiteY16" fmla="*/ 595 h 112518"/>
              <a:gd name="connsiteX17" fmla="*/ 676532 w 798840"/>
              <a:gd name="connsiteY17" fmla="*/ 595 h 112518"/>
              <a:gd name="connsiteX18" fmla="*/ 676911 w 798840"/>
              <a:gd name="connsiteY18" fmla="*/ 615 h 112518"/>
              <a:gd name="connsiteX19" fmla="*/ 681850 w 798840"/>
              <a:gd name="connsiteY19" fmla="*/ 6545 h 112518"/>
              <a:gd name="connsiteX20" fmla="*/ 681850 w 798840"/>
              <a:gd name="connsiteY20" fmla="*/ 20826 h 112518"/>
              <a:gd name="connsiteX21" fmla="*/ 639308 w 798840"/>
              <a:gd name="connsiteY21" fmla="*/ 20826 h 112518"/>
              <a:gd name="connsiteX22" fmla="*/ 639308 w 798840"/>
              <a:gd name="connsiteY22" fmla="*/ 43437 h 112518"/>
              <a:gd name="connsiteX23" fmla="*/ 673578 w 798840"/>
              <a:gd name="connsiteY23" fmla="*/ 43437 h 112518"/>
              <a:gd name="connsiteX24" fmla="*/ 673578 w 798840"/>
              <a:gd name="connsiteY24" fmla="*/ 63668 h 112518"/>
              <a:gd name="connsiteX25" fmla="*/ 639308 w 798840"/>
              <a:gd name="connsiteY25" fmla="*/ 63668 h 112518"/>
              <a:gd name="connsiteX26" fmla="*/ 639308 w 798840"/>
              <a:gd name="connsiteY26" fmla="*/ 87469 h 112518"/>
              <a:gd name="connsiteX27" fmla="*/ 639308 w 798840"/>
              <a:gd name="connsiteY27" fmla="*/ 87588 h 112518"/>
              <a:gd name="connsiteX28" fmla="*/ 644035 w 798840"/>
              <a:gd name="connsiteY28" fmla="*/ 92229 h 112518"/>
              <a:gd name="connsiteX29" fmla="*/ 682441 w 798840"/>
              <a:gd name="connsiteY29" fmla="*/ 92229 h 112518"/>
              <a:gd name="connsiteX30" fmla="*/ 682441 w 798840"/>
              <a:gd name="connsiteY30" fmla="*/ 106510 h 112518"/>
              <a:gd name="connsiteX31" fmla="*/ 676532 w 798840"/>
              <a:gd name="connsiteY31" fmla="*/ 112460 h 112518"/>
              <a:gd name="connsiteX32" fmla="*/ 620992 w 798840"/>
              <a:gd name="connsiteY32" fmla="*/ 112460 h 112518"/>
              <a:gd name="connsiteX33" fmla="*/ 609765 w 798840"/>
              <a:gd name="connsiteY33" fmla="*/ 102344 h 112518"/>
              <a:gd name="connsiteX34" fmla="*/ 398829 w 798840"/>
              <a:gd name="connsiteY34" fmla="*/ 595 h 112518"/>
              <a:gd name="connsiteX35" fmla="*/ 465596 w 798840"/>
              <a:gd name="connsiteY35" fmla="*/ 595 h 112518"/>
              <a:gd name="connsiteX36" fmla="*/ 465972 w 798840"/>
              <a:gd name="connsiteY36" fmla="*/ 615 h 112518"/>
              <a:gd name="connsiteX37" fmla="*/ 470914 w 798840"/>
              <a:gd name="connsiteY37" fmla="*/ 6545 h 112518"/>
              <a:gd name="connsiteX38" fmla="*/ 470914 w 798840"/>
              <a:gd name="connsiteY38" fmla="*/ 20826 h 112518"/>
              <a:gd name="connsiteX39" fmla="*/ 428372 w 798840"/>
              <a:gd name="connsiteY39" fmla="*/ 20826 h 112518"/>
              <a:gd name="connsiteX40" fmla="*/ 428372 w 798840"/>
              <a:gd name="connsiteY40" fmla="*/ 43437 h 112518"/>
              <a:gd name="connsiteX41" fmla="*/ 462642 w 798840"/>
              <a:gd name="connsiteY41" fmla="*/ 43437 h 112518"/>
              <a:gd name="connsiteX42" fmla="*/ 462642 w 798840"/>
              <a:gd name="connsiteY42" fmla="*/ 63668 h 112518"/>
              <a:gd name="connsiteX43" fmla="*/ 428372 w 798840"/>
              <a:gd name="connsiteY43" fmla="*/ 63668 h 112518"/>
              <a:gd name="connsiteX44" fmla="*/ 428372 w 798840"/>
              <a:gd name="connsiteY44" fmla="*/ 87469 h 112518"/>
              <a:gd name="connsiteX45" fmla="*/ 428372 w 798840"/>
              <a:gd name="connsiteY45" fmla="*/ 87588 h 112518"/>
              <a:gd name="connsiteX46" fmla="*/ 433099 w 798840"/>
              <a:gd name="connsiteY46" fmla="*/ 92229 h 112518"/>
              <a:gd name="connsiteX47" fmla="*/ 471505 w 798840"/>
              <a:gd name="connsiteY47" fmla="*/ 92229 h 112518"/>
              <a:gd name="connsiteX48" fmla="*/ 471505 w 798840"/>
              <a:gd name="connsiteY48" fmla="*/ 106510 h 112518"/>
              <a:gd name="connsiteX49" fmla="*/ 465596 w 798840"/>
              <a:gd name="connsiteY49" fmla="*/ 112460 h 112518"/>
              <a:gd name="connsiteX50" fmla="*/ 410055 w 798840"/>
              <a:gd name="connsiteY50" fmla="*/ 112460 h 112518"/>
              <a:gd name="connsiteX51" fmla="*/ 398829 w 798840"/>
              <a:gd name="connsiteY51" fmla="*/ 102344 h 112518"/>
              <a:gd name="connsiteX52" fmla="*/ 281839 w 798840"/>
              <a:gd name="connsiteY52" fmla="*/ 595 h 112518"/>
              <a:gd name="connsiteX53" fmla="*/ 296611 w 798840"/>
              <a:gd name="connsiteY53" fmla="*/ 595 h 112518"/>
              <a:gd name="connsiteX54" fmla="*/ 313155 w 798840"/>
              <a:gd name="connsiteY54" fmla="*/ 9520 h 112518"/>
              <a:gd name="connsiteX55" fmla="*/ 346834 w 798840"/>
              <a:gd name="connsiteY55" fmla="*/ 63073 h 112518"/>
              <a:gd name="connsiteX56" fmla="*/ 345652 w 798840"/>
              <a:gd name="connsiteY56" fmla="*/ 51172 h 112518"/>
              <a:gd name="connsiteX57" fmla="*/ 345652 w 798840"/>
              <a:gd name="connsiteY57" fmla="*/ 595 h 112518"/>
              <a:gd name="connsiteX58" fmla="*/ 368695 w 798840"/>
              <a:gd name="connsiteY58" fmla="*/ 595 h 112518"/>
              <a:gd name="connsiteX59" fmla="*/ 368695 w 798840"/>
              <a:gd name="connsiteY59" fmla="*/ 106510 h 112518"/>
              <a:gd name="connsiteX60" fmla="*/ 362787 w 798840"/>
              <a:gd name="connsiteY60" fmla="*/ 112460 h 112518"/>
              <a:gd name="connsiteX61" fmla="*/ 343879 w 798840"/>
              <a:gd name="connsiteY61" fmla="*/ 112460 h 112518"/>
              <a:gd name="connsiteX62" fmla="*/ 303701 w 798840"/>
              <a:gd name="connsiteY62" fmla="*/ 48197 h 112518"/>
              <a:gd name="connsiteX63" fmla="*/ 304292 w 798840"/>
              <a:gd name="connsiteY63" fmla="*/ 60098 h 112518"/>
              <a:gd name="connsiteX64" fmla="*/ 304292 w 798840"/>
              <a:gd name="connsiteY64" fmla="*/ 112460 h 112518"/>
              <a:gd name="connsiteX65" fmla="*/ 281839 w 798840"/>
              <a:gd name="connsiteY65" fmla="*/ 112460 h 112518"/>
              <a:gd name="connsiteX66" fmla="*/ 221572 w 798840"/>
              <a:gd name="connsiteY66" fmla="*/ 595 h 112518"/>
              <a:gd name="connsiteX67" fmla="*/ 251706 w 798840"/>
              <a:gd name="connsiteY67" fmla="*/ 595 h 112518"/>
              <a:gd name="connsiteX68" fmla="*/ 251706 w 798840"/>
              <a:gd name="connsiteY68" fmla="*/ 112460 h 112518"/>
              <a:gd name="connsiteX69" fmla="*/ 227480 w 798840"/>
              <a:gd name="connsiteY69" fmla="*/ 112460 h 112518"/>
              <a:gd name="connsiteX70" fmla="*/ 221572 w 798840"/>
              <a:gd name="connsiteY70" fmla="*/ 106510 h 112518"/>
              <a:gd name="connsiteX71" fmla="*/ 121717 w 798840"/>
              <a:gd name="connsiteY71" fmla="*/ 595 h 112518"/>
              <a:gd name="connsiteX72" fmla="*/ 188484 w 798840"/>
              <a:gd name="connsiteY72" fmla="*/ 595 h 112518"/>
              <a:gd name="connsiteX73" fmla="*/ 188859 w 798840"/>
              <a:gd name="connsiteY73" fmla="*/ 615 h 112518"/>
              <a:gd name="connsiteX74" fmla="*/ 193801 w 798840"/>
              <a:gd name="connsiteY74" fmla="*/ 6545 h 112518"/>
              <a:gd name="connsiteX75" fmla="*/ 193801 w 798840"/>
              <a:gd name="connsiteY75" fmla="*/ 20826 h 112518"/>
              <a:gd name="connsiteX76" fmla="*/ 151260 w 798840"/>
              <a:gd name="connsiteY76" fmla="*/ 20826 h 112518"/>
              <a:gd name="connsiteX77" fmla="*/ 151260 w 798840"/>
              <a:gd name="connsiteY77" fmla="*/ 43437 h 112518"/>
              <a:gd name="connsiteX78" fmla="*/ 185529 w 798840"/>
              <a:gd name="connsiteY78" fmla="*/ 43437 h 112518"/>
              <a:gd name="connsiteX79" fmla="*/ 185529 w 798840"/>
              <a:gd name="connsiteY79" fmla="*/ 63668 h 112518"/>
              <a:gd name="connsiteX80" fmla="*/ 151260 w 798840"/>
              <a:gd name="connsiteY80" fmla="*/ 63668 h 112518"/>
              <a:gd name="connsiteX81" fmla="*/ 151260 w 798840"/>
              <a:gd name="connsiteY81" fmla="*/ 87469 h 112518"/>
              <a:gd name="connsiteX82" fmla="*/ 151260 w 798840"/>
              <a:gd name="connsiteY82" fmla="*/ 87588 h 112518"/>
              <a:gd name="connsiteX83" fmla="*/ 155987 w 798840"/>
              <a:gd name="connsiteY83" fmla="*/ 92229 h 112518"/>
              <a:gd name="connsiteX84" fmla="*/ 194392 w 798840"/>
              <a:gd name="connsiteY84" fmla="*/ 92229 h 112518"/>
              <a:gd name="connsiteX85" fmla="*/ 194392 w 798840"/>
              <a:gd name="connsiteY85" fmla="*/ 106510 h 112518"/>
              <a:gd name="connsiteX86" fmla="*/ 188484 w 798840"/>
              <a:gd name="connsiteY86" fmla="*/ 112460 h 112518"/>
              <a:gd name="connsiteX87" fmla="*/ 132943 w 798840"/>
              <a:gd name="connsiteY87" fmla="*/ 112460 h 112518"/>
              <a:gd name="connsiteX88" fmla="*/ 132911 w 798840"/>
              <a:gd name="connsiteY88" fmla="*/ 112462 h 112518"/>
              <a:gd name="connsiteX89" fmla="*/ 121717 w 798840"/>
              <a:gd name="connsiteY89" fmla="*/ 102344 h 112518"/>
              <a:gd name="connsiteX90" fmla="*/ 0 w 798840"/>
              <a:gd name="connsiteY90" fmla="*/ 595 h 112518"/>
              <a:gd name="connsiteX91" fmla="*/ 34861 w 798840"/>
              <a:gd name="connsiteY91" fmla="*/ 595 h 112518"/>
              <a:gd name="connsiteX92" fmla="*/ 34861 w 798840"/>
              <a:gd name="connsiteY92" fmla="*/ 43437 h 112518"/>
              <a:gd name="connsiteX93" fmla="*/ 60858 w 798840"/>
              <a:gd name="connsiteY93" fmla="*/ 43437 h 112518"/>
              <a:gd name="connsiteX94" fmla="*/ 60858 w 798840"/>
              <a:gd name="connsiteY94" fmla="*/ 595 h 112518"/>
              <a:gd name="connsiteX95" fmla="*/ 90992 w 798840"/>
              <a:gd name="connsiteY95" fmla="*/ 595 h 112518"/>
              <a:gd name="connsiteX96" fmla="*/ 90992 w 798840"/>
              <a:gd name="connsiteY96" fmla="*/ 112460 h 112518"/>
              <a:gd name="connsiteX97" fmla="*/ 60858 w 798840"/>
              <a:gd name="connsiteY97" fmla="*/ 112460 h 112518"/>
              <a:gd name="connsiteX98" fmla="*/ 60858 w 798840"/>
              <a:gd name="connsiteY98" fmla="*/ 64263 h 112518"/>
              <a:gd name="connsiteX99" fmla="*/ 34861 w 798840"/>
              <a:gd name="connsiteY99" fmla="*/ 64263 h 112518"/>
              <a:gd name="connsiteX100" fmla="*/ 34861 w 798840"/>
              <a:gd name="connsiteY100" fmla="*/ 112460 h 112518"/>
              <a:gd name="connsiteX101" fmla="*/ 4727 w 798840"/>
              <a:gd name="connsiteY101" fmla="*/ 112460 h 112518"/>
              <a:gd name="connsiteX102" fmla="*/ 4727 w 798840"/>
              <a:gd name="connsiteY102" fmla="*/ 12496 h 112518"/>
              <a:gd name="connsiteX103" fmla="*/ 0 w 798840"/>
              <a:gd name="connsiteY103" fmla="*/ 4760 h 112518"/>
              <a:gd name="connsiteX104" fmla="*/ 495730 w 798840"/>
              <a:gd name="connsiteY104" fmla="*/ 0 h 112518"/>
              <a:gd name="connsiteX105" fmla="*/ 525864 w 798840"/>
              <a:gd name="connsiteY105" fmla="*/ 0 h 112518"/>
              <a:gd name="connsiteX106" fmla="*/ 525864 w 798840"/>
              <a:gd name="connsiteY106" fmla="*/ 41652 h 112518"/>
              <a:gd name="connsiteX107" fmla="*/ 556588 w 798840"/>
              <a:gd name="connsiteY107" fmla="*/ 6545 h 112518"/>
              <a:gd name="connsiteX108" fmla="*/ 570178 w 798840"/>
              <a:gd name="connsiteY108" fmla="*/ 595 h 112518"/>
              <a:gd name="connsiteX109" fmla="*/ 592040 w 798840"/>
              <a:gd name="connsiteY109" fmla="*/ 595 h 112518"/>
              <a:gd name="connsiteX110" fmla="*/ 552452 w 798840"/>
              <a:gd name="connsiteY110" fmla="*/ 46412 h 112518"/>
              <a:gd name="connsiteX111" fmla="*/ 594403 w 798840"/>
              <a:gd name="connsiteY111" fmla="*/ 112460 h 112518"/>
              <a:gd name="connsiteX112" fmla="*/ 569587 w 798840"/>
              <a:gd name="connsiteY112" fmla="*/ 112460 h 112518"/>
              <a:gd name="connsiteX113" fmla="*/ 552452 w 798840"/>
              <a:gd name="connsiteY113" fmla="*/ 102939 h 112518"/>
              <a:gd name="connsiteX114" fmla="*/ 525864 w 798840"/>
              <a:gd name="connsiteY114" fmla="*/ 61288 h 112518"/>
              <a:gd name="connsiteX115" fmla="*/ 525864 w 798840"/>
              <a:gd name="connsiteY115" fmla="*/ 111865 h 112518"/>
              <a:gd name="connsiteX116" fmla="*/ 501638 w 798840"/>
              <a:gd name="connsiteY116" fmla="*/ 111865 h 112518"/>
              <a:gd name="connsiteX117" fmla="*/ 495730 w 798840"/>
              <a:gd name="connsiteY117" fmla="*/ 105915 h 11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8840" h="112518">
                <a:moveTo>
                  <a:pt x="707848" y="595"/>
                </a:moveTo>
                <a:lnTo>
                  <a:pt x="722619" y="595"/>
                </a:lnTo>
                <a:cubicBezTo>
                  <a:pt x="729373" y="145"/>
                  <a:pt x="735796" y="3608"/>
                  <a:pt x="739163" y="9520"/>
                </a:cubicBezTo>
                <a:lnTo>
                  <a:pt x="772842" y="63073"/>
                </a:lnTo>
                <a:cubicBezTo>
                  <a:pt x="771891" y="59182"/>
                  <a:pt x="771489" y="55176"/>
                  <a:pt x="771661" y="51172"/>
                </a:cubicBezTo>
                <a:lnTo>
                  <a:pt x="771661" y="595"/>
                </a:lnTo>
                <a:lnTo>
                  <a:pt x="798840" y="595"/>
                </a:lnTo>
                <a:lnTo>
                  <a:pt x="798840" y="4760"/>
                </a:lnTo>
                <a:cubicBezTo>
                  <a:pt x="795839" y="6121"/>
                  <a:pt x="793965" y="9186"/>
                  <a:pt x="794113" y="12496"/>
                </a:cubicBezTo>
                <a:lnTo>
                  <a:pt x="794113" y="106510"/>
                </a:lnTo>
                <a:cubicBezTo>
                  <a:pt x="794113" y="109796"/>
                  <a:pt x="791466" y="112460"/>
                  <a:pt x="788205" y="112460"/>
                </a:cubicBezTo>
                <a:lnTo>
                  <a:pt x="769888" y="112460"/>
                </a:lnTo>
                <a:lnTo>
                  <a:pt x="729710" y="48197"/>
                </a:lnTo>
                <a:cubicBezTo>
                  <a:pt x="729710" y="48197"/>
                  <a:pt x="730300" y="53552"/>
                  <a:pt x="730300" y="60098"/>
                </a:cubicBezTo>
                <a:lnTo>
                  <a:pt x="730300" y="112460"/>
                </a:lnTo>
                <a:lnTo>
                  <a:pt x="707848" y="112460"/>
                </a:lnTo>
                <a:close/>
                <a:moveTo>
                  <a:pt x="609765" y="595"/>
                </a:moveTo>
                <a:lnTo>
                  <a:pt x="676532" y="595"/>
                </a:lnTo>
                <a:cubicBezTo>
                  <a:pt x="676657" y="597"/>
                  <a:pt x="676781" y="604"/>
                  <a:pt x="676911" y="615"/>
                </a:cubicBezTo>
                <a:cubicBezTo>
                  <a:pt x="679900" y="878"/>
                  <a:pt x="682110" y="3533"/>
                  <a:pt x="681850" y="6545"/>
                </a:cubicBezTo>
                <a:lnTo>
                  <a:pt x="681850" y="20826"/>
                </a:lnTo>
                <a:lnTo>
                  <a:pt x="639308" y="20826"/>
                </a:lnTo>
                <a:lnTo>
                  <a:pt x="639308" y="43437"/>
                </a:lnTo>
                <a:lnTo>
                  <a:pt x="673578" y="43437"/>
                </a:lnTo>
                <a:lnTo>
                  <a:pt x="673578" y="63668"/>
                </a:lnTo>
                <a:lnTo>
                  <a:pt x="639308" y="63668"/>
                </a:lnTo>
                <a:lnTo>
                  <a:pt x="639308" y="87469"/>
                </a:lnTo>
                <a:cubicBezTo>
                  <a:pt x="639308" y="87509"/>
                  <a:pt x="639308" y="87549"/>
                  <a:pt x="639308" y="87588"/>
                </a:cubicBezTo>
                <a:cubicBezTo>
                  <a:pt x="639344" y="90184"/>
                  <a:pt x="641459" y="92262"/>
                  <a:pt x="644035" y="92229"/>
                </a:cubicBezTo>
                <a:lnTo>
                  <a:pt x="682441" y="92229"/>
                </a:lnTo>
                <a:lnTo>
                  <a:pt x="682441" y="106510"/>
                </a:lnTo>
                <a:cubicBezTo>
                  <a:pt x="682441" y="109796"/>
                  <a:pt x="679794" y="112460"/>
                  <a:pt x="676532" y="112460"/>
                </a:cubicBezTo>
                <a:lnTo>
                  <a:pt x="620992" y="112460"/>
                </a:lnTo>
                <a:cubicBezTo>
                  <a:pt x="615195" y="112578"/>
                  <a:pt x="610291" y="108161"/>
                  <a:pt x="609765" y="102344"/>
                </a:cubicBezTo>
                <a:close/>
                <a:moveTo>
                  <a:pt x="398829" y="595"/>
                </a:moveTo>
                <a:lnTo>
                  <a:pt x="465596" y="595"/>
                </a:lnTo>
                <a:cubicBezTo>
                  <a:pt x="465721" y="597"/>
                  <a:pt x="465847" y="604"/>
                  <a:pt x="465972" y="615"/>
                </a:cubicBezTo>
                <a:cubicBezTo>
                  <a:pt x="468963" y="878"/>
                  <a:pt x="471176" y="3533"/>
                  <a:pt x="470914" y="6545"/>
                </a:cubicBezTo>
                <a:lnTo>
                  <a:pt x="470914" y="20826"/>
                </a:lnTo>
                <a:lnTo>
                  <a:pt x="428372" y="20826"/>
                </a:lnTo>
                <a:lnTo>
                  <a:pt x="428372" y="43437"/>
                </a:lnTo>
                <a:lnTo>
                  <a:pt x="462642" y="43437"/>
                </a:lnTo>
                <a:lnTo>
                  <a:pt x="462642" y="63668"/>
                </a:lnTo>
                <a:lnTo>
                  <a:pt x="428372" y="63668"/>
                </a:lnTo>
                <a:lnTo>
                  <a:pt x="428372" y="87469"/>
                </a:lnTo>
                <a:cubicBezTo>
                  <a:pt x="428371" y="87509"/>
                  <a:pt x="428371" y="87549"/>
                  <a:pt x="428372" y="87588"/>
                </a:cubicBezTo>
                <a:cubicBezTo>
                  <a:pt x="428405" y="90184"/>
                  <a:pt x="430521" y="92262"/>
                  <a:pt x="433099" y="92229"/>
                </a:cubicBezTo>
                <a:lnTo>
                  <a:pt x="471505" y="92229"/>
                </a:lnTo>
                <a:lnTo>
                  <a:pt x="471505" y="106510"/>
                </a:lnTo>
                <a:cubicBezTo>
                  <a:pt x="471505" y="109796"/>
                  <a:pt x="468859" y="112460"/>
                  <a:pt x="465596" y="112460"/>
                </a:cubicBezTo>
                <a:lnTo>
                  <a:pt x="410055" y="112460"/>
                </a:lnTo>
                <a:cubicBezTo>
                  <a:pt x="404257" y="112578"/>
                  <a:pt x="399355" y="108161"/>
                  <a:pt x="398829" y="102344"/>
                </a:cubicBezTo>
                <a:close/>
                <a:moveTo>
                  <a:pt x="281839" y="595"/>
                </a:moveTo>
                <a:lnTo>
                  <a:pt x="296611" y="595"/>
                </a:lnTo>
                <a:cubicBezTo>
                  <a:pt x="303365" y="145"/>
                  <a:pt x="309785" y="3608"/>
                  <a:pt x="313155" y="9520"/>
                </a:cubicBezTo>
                <a:lnTo>
                  <a:pt x="346834" y="63073"/>
                </a:lnTo>
                <a:cubicBezTo>
                  <a:pt x="345881" y="59182"/>
                  <a:pt x="345484" y="55176"/>
                  <a:pt x="345652" y="51172"/>
                </a:cubicBezTo>
                <a:lnTo>
                  <a:pt x="345652" y="595"/>
                </a:lnTo>
                <a:lnTo>
                  <a:pt x="368695" y="595"/>
                </a:lnTo>
                <a:lnTo>
                  <a:pt x="368695" y="106510"/>
                </a:lnTo>
                <a:cubicBezTo>
                  <a:pt x="368695" y="109796"/>
                  <a:pt x="366050" y="112460"/>
                  <a:pt x="362787" y="112460"/>
                </a:cubicBezTo>
                <a:lnTo>
                  <a:pt x="343879" y="112460"/>
                </a:lnTo>
                <a:lnTo>
                  <a:pt x="303701" y="48197"/>
                </a:lnTo>
                <a:cubicBezTo>
                  <a:pt x="303701" y="48197"/>
                  <a:pt x="304292" y="53552"/>
                  <a:pt x="304292" y="60098"/>
                </a:cubicBezTo>
                <a:lnTo>
                  <a:pt x="304292" y="112460"/>
                </a:lnTo>
                <a:lnTo>
                  <a:pt x="281839" y="112460"/>
                </a:lnTo>
                <a:close/>
                <a:moveTo>
                  <a:pt x="221572" y="595"/>
                </a:moveTo>
                <a:lnTo>
                  <a:pt x="251706" y="595"/>
                </a:lnTo>
                <a:lnTo>
                  <a:pt x="251706" y="112460"/>
                </a:lnTo>
                <a:lnTo>
                  <a:pt x="227480" y="112460"/>
                </a:lnTo>
                <a:cubicBezTo>
                  <a:pt x="224217" y="112460"/>
                  <a:pt x="221572" y="109796"/>
                  <a:pt x="221572" y="106510"/>
                </a:cubicBezTo>
                <a:close/>
                <a:moveTo>
                  <a:pt x="121717" y="595"/>
                </a:moveTo>
                <a:lnTo>
                  <a:pt x="188484" y="595"/>
                </a:lnTo>
                <a:cubicBezTo>
                  <a:pt x="188609" y="597"/>
                  <a:pt x="188735" y="604"/>
                  <a:pt x="188859" y="615"/>
                </a:cubicBezTo>
                <a:cubicBezTo>
                  <a:pt x="191850" y="878"/>
                  <a:pt x="194063" y="3533"/>
                  <a:pt x="193801" y="6545"/>
                </a:cubicBezTo>
                <a:lnTo>
                  <a:pt x="193801" y="20826"/>
                </a:lnTo>
                <a:lnTo>
                  <a:pt x="151260" y="20826"/>
                </a:lnTo>
                <a:lnTo>
                  <a:pt x="151260" y="43437"/>
                </a:lnTo>
                <a:lnTo>
                  <a:pt x="185529" y="43437"/>
                </a:lnTo>
                <a:lnTo>
                  <a:pt x="185529" y="63668"/>
                </a:lnTo>
                <a:lnTo>
                  <a:pt x="151260" y="63668"/>
                </a:lnTo>
                <a:lnTo>
                  <a:pt x="151260" y="87469"/>
                </a:lnTo>
                <a:cubicBezTo>
                  <a:pt x="151259" y="87509"/>
                  <a:pt x="151259" y="87549"/>
                  <a:pt x="151260" y="87588"/>
                </a:cubicBezTo>
                <a:cubicBezTo>
                  <a:pt x="151293" y="90184"/>
                  <a:pt x="153409" y="92262"/>
                  <a:pt x="155987" y="92229"/>
                </a:cubicBezTo>
                <a:lnTo>
                  <a:pt x="194392" y="92229"/>
                </a:lnTo>
                <a:lnTo>
                  <a:pt x="194392" y="106510"/>
                </a:lnTo>
                <a:cubicBezTo>
                  <a:pt x="194392" y="109796"/>
                  <a:pt x="191747" y="112460"/>
                  <a:pt x="188484" y="112460"/>
                </a:cubicBezTo>
                <a:lnTo>
                  <a:pt x="132943" y="112460"/>
                </a:lnTo>
                <a:cubicBezTo>
                  <a:pt x="132932" y="112460"/>
                  <a:pt x="132921" y="112461"/>
                  <a:pt x="132911" y="112462"/>
                </a:cubicBezTo>
                <a:cubicBezTo>
                  <a:pt x="127045" y="112781"/>
                  <a:pt x="122033" y="108251"/>
                  <a:pt x="121717" y="102344"/>
                </a:cubicBezTo>
                <a:close/>
                <a:moveTo>
                  <a:pt x="0" y="595"/>
                </a:moveTo>
                <a:lnTo>
                  <a:pt x="34861" y="595"/>
                </a:lnTo>
                <a:lnTo>
                  <a:pt x="34861" y="43437"/>
                </a:lnTo>
                <a:lnTo>
                  <a:pt x="60858" y="43437"/>
                </a:lnTo>
                <a:lnTo>
                  <a:pt x="60858" y="595"/>
                </a:lnTo>
                <a:lnTo>
                  <a:pt x="90992" y="595"/>
                </a:lnTo>
                <a:lnTo>
                  <a:pt x="90992" y="112460"/>
                </a:lnTo>
                <a:lnTo>
                  <a:pt x="60858" y="112460"/>
                </a:lnTo>
                <a:lnTo>
                  <a:pt x="60858" y="64263"/>
                </a:lnTo>
                <a:lnTo>
                  <a:pt x="34861" y="64263"/>
                </a:lnTo>
                <a:lnTo>
                  <a:pt x="34861" y="112460"/>
                </a:lnTo>
                <a:lnTo>
                  <a:pt x="4727" y="112460"/>
                </a:lnTo>
                <a:lnTo>
                  <a:pt x="4727" y="12496"/>
                </a:lnTo>
                <a:cubicBezTo>
                  <a:pt x="4872" y="9186"/>
                  <a:pt x="2999" y="6121"/>
                  <a:pt x="0" y="4760"/>
                </a:cubicBezTo>
                <a:close/>
                <a:moveTo>
                  <a:pt x="495730" y="0"/>
                </a:moveTo>
                <a:lnTo>
                  <a:pt x="525864" y="0"/>
                </a:lnTo>
                <a:lnTo>
                  <a:pt x="525864" y="41652"/>
                </a:lnTo>
                <a:lnTo>
                  <a:pt x="556588" y="6545"/>
                </a:lnTo>
                <a:cubicBezTo>
                  <a:pt x="559891" y="2460"/>
                  <a:pt x="564961" y="242"/>
                  <a:pt x="570178" y="595"/>
                </a:cubicBezTo>
                <a:lnTo>
                  <a:pt x="592040" y="595"/>
                </a:lnTo>
                <a:lnTo>
                  <a:pt x="552452" y="46412"/>
                </a:lnTo>
                <a:lnTo>
                  <a:pt x="594403" y="112460"/>
                </a:lnTo>
                <a:lnTo>
                  <a:pt x="569587" y="112460"/>
                </a:lnTo>
                <a:cubicBezTo>
                  <a:pt x="562497" y="113037"/>
                  <a:pt x="555749" y="109288"/>
                  <a:pt x="552452" y="102939"/>
                </a:cubicBezTo>
                <a:lnTo>
                  <a:pt x="525864" y="61288"/>
                </a:lnTo>
                <a:lnTo>
                  <a:pt x="525864" y="111865"/>
                </a:lnTo>
                <a:lnTo>
                  <a:pt x="501638" y="111865"/>
                </a:lnTo>
                <a:cubicBezTo>
                  <a:pt x="498375" y="111865"/>
                  <a:pt x="495730" y="109201"/>
                  <a:pt x="495730" y="105915"/>
                </a:cubicBezTo>
                <a:close/>
              </a:path>
            </a:pathLst>
          </a:custGeom>
          <a:solidFill>
            <a:schemeClr val="accent1"/>
          </a:solidFill>
        </p:spPr>
        <p:txBody>
          <a:bodyPr wrap="square">
            <a:noAutofit/>
          </a:bodyPr>
          <a:lstStyle/>
          <a:p>
            <a:pPr lvl="0"/>
            <a:r>
              <a:rPr lang="nl-NL"/>
              <a:t> </a:t>
            </a:r>
            <a:endParaRPr lang="de-DE"/>
          </a:p>
        </p:txBody>
      </p:sp>
      <p:sp>
        <p:nvSpPr>
          <p:cNvPr id="14" name="Tijdelijke aanduiding voor tekst 13">
            <a:extLst>
              <a:ext uri="{FF2B5EF4-FFF2-40B4-BE49-F238E27FC236}">
                <a16:creationId xmlns:a16="http://schemas.microsoft.com/office/drawing/2014/main" id="{536E4269-8867-0AF9-A776-D2FCCE3006B8}"/>
              </a:ext>
            </a:extLst>
          </p:cNvPr>
          <p:cNvSpPr>
            <a:spLocks noGrp="1"/>
          </p:cNvSpPr>
          <p:nvPr>
            <p:ph type="body" sz="quarter" idx="13" hasCustomPrompt="1"/>
          </p:nvPr>
        </p:nvSpPr>
        <p:spPr>
          <a:xfrm>
            <a:off x="10075653" y="6347102"/>
            <a:ext cx="190772" cy="186145"/>
          </a:xfrm>
          <a:custGeom>
            <a:avLst/>
            <a:gdLst>
              <a:gd name="connsiteX0" fmla="*/ 72131 w 143079"/>
              <a:gd name="connsiteY0" fmla="*/ 0 h 139609"/>
              <a:gd name="connsiteX1" fmla="*/ 73313 w 143079"/>
              <a:gd name="connsiteY1" fmla="*/ 1190 h 139609"/>
              <a:gd name="connsiteX2" fmla="*/ 89266 w 143079"/>
              <a:gd name="connsiteY2" fmla="*/ 51767 h 139609"/>
              <a:gd name="connsiteX3" fmla="*/ 141262 w 143079"/>
              <a:gd name="connsiteY3" fmla="*/ 51767 h 139609"/>
              <a:gd name="connsiteX4" fmla="*/ 143064 w 143079"/>
              <a:gd name="connsiteY4" fmla="*/ 54086 h 139609"/>
              <a:gd name="connsiteX5" fmla="*/ 142443 w 143079"/>
              <a:gd name="connsiteY5" fmla="*/ 55337 h 139609"/>
              <a:gd name="connsiteX6" fmla="*/ 117627 w 143079"/>
              <a:gd name="connsiteY6" fmla="*/ 73783 h 139609"/>
              <a:gd name="connsiteX7" fmla="*/ 88084 w 143079"/>
              <a:gd name="connsiteY7" fmla="*/ 73783 h 139609"/>
              <a:gd name="connsiteX8" fmla="*/ 79221 w 143079"/>
              <a:gd name="connsiteY8" fmla="*/ 45222 h 139609"/>
              <a:gd name="connsiteX9" fmla="*/ 70359 w 143079"/>
              <a:gd name="connsiteY9" fmla="*/ 73783 h 139609"/>
              <a:gd name="connsiteX10" fmla="*/ 40816 w 143079"/>
              <a:gd name="connsiteY10" fmla="*/ 73783 h 139609"/>
              <a:gd name="connsiteX11" fmla="*/ 65041 w 143079"/>
              <a:gd name="connsiteY11" fmla="*/ 91634 h 139609"/>
              <a:gd name="connsiteX12" fmla="*/ 56178 w 143079"/>
              <a:gd name="connsiteY12" fmla="*/ 120195 h 139609"/>
              <a:gd name="connsiteX13" fmla="*/ 29589 w 143079"/>
              <a:gd name="connsiteY13" fmla="*/ 139236 h 139609"/>
              <a:gd name="connsiteX14" fmla="*/ 27504 w 143079"/>
              <a:gd name="connsiteY14" fmla="*/ 139108 h 139609"/>
              <a:gd name="connsiteX15" fmla="*/ 27226 w 143079"/>
              <a:gd name="connsiteY15" fmla="*/ 138641 h 139609"/>
              <a:gd name="connsiteX16" fmla="*/ 27029 w 143079"/>
              <a:gd name="connsiteY16" fmla="*/ 137055 h 139609"/>
              <a:gd name="connsiteX17" fmla="*/ 27226 w 143079"/>
              <a:gd name="connsiteY17" fmla="*/ 136856 h 139609"/>
              <a:gd name="connsiteX18" fmla="*/ 43179 w 143079"/>
              <a:gd name="connsiteY18" fmla="*/ 86279 h 139609"/>
              <a:gd name="connsiteX19" fmla="*/ 637 w 143079"/>
              <a:gd name="connsiteY19" fmla="*/ 55337 h 139609"/>
              <a:gd name="connsiteX20" fmla="*/ 577 w 143079"/>
              <a:gd name="connsiteY20" fmla="*/ 52393 h 139609"/>
              <a:gd name="connsiteX21" fmla="*/ 1819 w 143079"/>
              <a:gd name="connsiteY21" fmla="*/ 51767 h 139609"/>
              <a:gd name="connsiteX22" fmla="*/ 53815 w 143079"/>
              <a:gd name="connsiteY22" fmla="*/ 51767 h 139609"/>
              <a:gd name="connsiteX23" fmla="*/ 69768 w 143079"/>
              <a:gd name="connsiteY23" fmla="*/ 1190 h 139609"/>
              <a:gd name="connsiteX24" fmla="*/ 72131 w 143079"/>
              <a:gd name="connsiteY24" fmla="*/ 0 h 1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079" h="139609">
                <a:moveTo>
                  <a:pt x="72131" y="0"/>
                </a:moveTo>
                <a:cubicBezTo>
                  <a:pt x="72760" y="55"/>
                  <a:pt x="73258" y="557"/>
                  <a:pt x="73313" y="1190"/>
                </a:cubicBezTo>
                <a:cubicBezTo>
                  <a:pt x="73904" y="3570"/>
                  <a:pt x="89266" y="51767"/>
                  <a:pt x="89266" y="51767"/>
                </a:cubicBezTo>
                <a:lnTo>
                  <a:pt x="141262" y="51767"/>
                </a:lnTo>
                <a:cubicBezTo>
                  <a:pt x="142395" y="51906"/>
                  <a:pt x="143203" y="52944"/>
                  <a:pt x="143064" y="54086"/>
                </a:cubicBezTo>
                <a:cubicBezTo>
                  <a:pt x="143007" y="54563"/>
                  <a:pt x="142787" y="55005"/>
                  <a:pt x="142443" y="55337"/>
                </a:cubicBezTo>
                <a:lnTo>
                  <a:pt x="117627" y="73783"/>
                </a:lnTo>
                <a:lnTo>
                  <a:pt x="88084" y="73783"/>
                </a:lnTo>
                <a:lnTo>
                  <a:pt x="79221" y="45222"/>
                </a:lnTo>
                <a:lnTo>
                  <a:pt x="70359" y="73783"/>
                </a:lnTo>
                <a:lnTo>
                  <a:pt x="40816" y="73783"/>
                </a:lnTo>
                <a:lnTo>
                  <a:pt x="65041" y="91634"/>
                </a:lnTo>
                <a:lnTo>
                  <a:pt x="56178" y="120195"/>
                </a:lnTo>
                <a:lnTo>
                  <a:pt x="29589" y="139236"/>
                </a:lnTo>
                <a:cubicBezTo>
                  <a:pt x="28978" y="139780"/>
                  <a:pt x="28045" y="139723"/>
                  <a:pt x="27504" y="139108"/>
                </a:cubicBezTo>
                <a:cubicBezTo>
                  <a:pt x="27384" y="138971"/>
                  <a:pt x="27289" y="138812"/>
                  <a:pt x="27226" y="138641"/>
                </a:cubicBezTo>
                <a:cubicBezTo>
                  <a:pt x="26736" y="138258"/>
                  <a:pt x="26648" y="137547"/>
                  <a:pt x="27029" y="137055"/>
                </a:cubicBezTo>
                <a:cubicBezTo>
                  <a:pt x="27086" y="136980"/>
                  <a:pt x="27152" y="136914"/>
                  <a:pt x="27226" y="136856"/>
                </a:cubicBezTo>
                <a:cubicBezTo>
                  <a:pt x="27817" y="134476"/>
                  <a:pt x="43179" y="86279"/>
                  <a:pt x="43179" y="86279"/>
                </a:cubicBezTo>
                <a:lnTo>
                  <a:pt x="637" y="55337"/>
                </a:lnTo>
                <a:cubicBezTo>
                  <a:pt x="-187" y="54541"/>
                  <a:pt x="-214" y="53223"/>
                  <a:pt x="577" y="52393"/>
                </a:cubicBezTo>
                <a:cubicBezTo>
                  <a:pt x="907" y="52046"/>
                  <a:pt x="1346" y="51825"/>
                  <a:pt x="1819" y="51767"/>
                </a:cubicBezTo>
                <a:lnTo>
                  <a:pt x="53815" y="51767"/>
                </a:lnTo>
                <a:cubicBezTo>
                  <a:pt x="53815" y="51767"/>
                  <a:pt x="69177" y="3570"/>
                  <a:pt x="69768" y="1190"/>
                </a:cubicBezTo>
                <a:cubicBezTo>
                  <a:pt x="70337" y="455"/>
                  <a:pt x="71205" y="18"/>
                  <a:pt x="72131" y="0"/>
                </a:cubicBezTo>
                <a:close/>
              </a:path>
            </a:pathLst>
          </a:custGeom>
          <a:solidFill>
            <a:schemeClr val="accent2"/>
          </a:solidFill>
        </p:spPr>
        <p:txBody>
          <a:bodyPr wrap="square">
            <a:noAutofit/>
          </a:bodyPr>
          <a:lstStyle>
            <a:lvl1pPr>
              <a:defRPr/>
            </a:lvl1pPr>
          </a:lstStyle>
          <a:p>
            <a:pPr lvl="0"/>
            <a:r>
              <a:rPr lang="nl-NL"/>
              <a:t> </a:t>
            </a:r>
            <a:endParaRPr lang="de-DE"/>
          </a:p>
        </p:txBody>
      </p:sp>
      <p:sp>
        <p:nvSpPr>
          <p:cNvPr id="2" name="Slide Number Placeholder 1">
            <a:extLst>
              <a:ext uri="{FF2B5EF4-FFF2-40B4-BE49-F238E27FC236}">
                <a16:creationId xmlns:a16="http://schemas.microsoft.com/office/drawing/2014/main" id="{419C55DB-CB9A-7C9F-DB78-76064169CD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5680844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extLst>
              <p:ext uri="{D42A27DB-BD31-4B8C-83A1-F6EECF244321}">
                <p14:modId xmlns:p14="http://schemas.microsoft.com/office/powerpoint/2010/main" val="12966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4" name="Freeform: Shape 13">
            <a:extLst>
              <a:ext uri="{FF2B5EF4-FFF2-40B4-BE49-F238E27FC236}">
                <a16:creationId xmlns:a16="http://schemas.microsoft.com/office/drawing/2014/main" id="{3AAE0897-10C9-48C6-97E5-5DEAC03D34B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629100"/>
            <a:ext cx="11082528" cy="410433"/>
          </a:xfrm>
        </p:spPr>
        <p:txBody>
          <a:bodyPr vert="horz">
            <a:spAutoFit/>
          </a:bodyPr>
          <a:lstStyle>
            <a:lvl1pPr rtl="0">
              <a:defRPr>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68486E90-B2A4-2461-D645-0A403CE4BD75}"/>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103420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8868395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8ABC38C9-399E-42C2-A3E9-4F05DD7747C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3" name="Slide Number Placeholder 1">
            <a:extLst>
              <a:ext uri="{FF2B5EF4-FFF2-40B4-BE49-F238E27FC236}">
                <a16:creationId xmlns:a16="http://schemas.microsoft.com/office/drawing/2014/main" id="{92A89303-D55F-A537-1B21-BC553DD43C70}"/>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717526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246221"/>
          </a:xfrm>
          <a:solidFill>
            <a:schemeClr val="accent4">
              <a:alpha val="10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tx2"/>
                </a:solidFill>
                <a:effectLst>
                  <a:outerShdw blurRad="381000" dist="12700" dir="5400000" algn="t" rotWithShape="0">
                    <a:prstClr val="black">
                      <a:alpha val="40000"/>
                    </a:prstClr>
                  </a:outerShdw>
                </a:effectLst>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57BEB58C-31F9-C952-8CCF-ADF4D70806F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41873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co - gre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542C51-24AF-93F0-66F2-2B9E354033D1}"/>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529625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bg1"/>
        </a:solidFill>
        <a:effectLst/>
      </p:bgPr>
    </p:bg>
    <p:spTree>
      <p:nvGrpSpPr>
        <p:cNvPr id="1" name=""/>
        <p:cNvGrpSpPr/>
        <p:nvPr/>
      </p:nvGrpSpPr>
      <p:grpSpPr>
        <a:xfrm>
          <a:off x="0" y="0"/>
          <a:ext cx="0" cy="0"/>
          <a:chOff x="0" y="0"/>
          <a:chExt cx="0" cy="0"/>
        </a:xfrm>
      </p:grpSpPr>
      <p:pic>
        <p:nvPicPr>
          <p:cNvPr id="6" name="Picture 3" descr="Background pattern&#10;&#10;Description automatically generated">
            <a:extLst>
              <a:ext uri="{FF2B5EF4-FFF2-40B4-BE49-F238E27FC236}">
                <a16:creationId xmlns:a16="http://schemas.microsoft.com/office/drawing/2014/main" id="{C2054B5C-1528-FBFE-A4D8-A33E6FFC407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7" name="Picture 4">
            <a:extLst>
              <a:ext uri="{FF2B5EF4-FFF2-40B4-BE49-F238E27FC236}">
                <a16:creationId xmlns:a16="http://schemas.microsoft.com/office/drawing/2014/main" id="{0C6EB121-407F-0E88-1BB7-2E2933D797A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89CB56A4-9D87-ABCB-A5E4-27F8DD70665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83852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5586A44D-376F-C355-6E62-69C92965D1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E5CB8095-1752-86E4-9919-863A7E800A2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lang="en-US" sz="3000" b="1" kern="1200">
                <a:solidFill>
                  <a:schemeClr val="bg1"/>
                </a:solidFill>
                <a:latin typeface="HEINEKEN Core" panose="02000503050000020004" pitchFamily="2" charset="0"/>
                <a:ea typeface="+mj-ea"/>
                <a:cs typeface="+mj-cs"/>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48812E2-1765-A29B-31D3-0D6F789A5E0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79158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0F4BE913-D81D-A278-58AF-125AC8EA9C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15EE7C5C-A8CC-D451-6CDB-15D8AB4A5DC5}"/>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3574C1D-0F02-B637-E397-EE62B9CA68A6}"/>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307322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Green [Gradient]">
    <p:bg>
      <p:bgPr>
        <a:solidFill>
          <a:schemeClr val="bg1"/>
        </a:solidFill>
        <a:effectLst/>
      </p:bgPr>
    </p:bg>
    <p:spTree>
      <p:nvGrpSpPr>
        <p:cNvPr id="1" name=""/>
        <p:cNvGrpSpPr/>
        <p:nvPr/>
      </p:nvGrpSpPr>
      <p:grpSpPr>
        <a:xfrm>
          <a:off x="0" y="0"/>
          <a:ext cx="0" cy="0"/>
          <a:chOff x="0" y="0"/>
          <a:chExt cx="0" cy="0"/>
        </a:xfrm>
      </p:grpSpPr>
      <p:pic>
        <p:nvPicPr>
          <p:cNvPr id="2" name="Picture 3" descr="Background pattern&#10;&#10;Description automatically generated">
            <a:extLst>
              <a:ext uri="{FF2B5EF4-FFF2-40B4-BE49-F238E27FC236}">
                <a16:creationId xmlns:a16="http://schemas.microsoft.com/office/drawing/2014/main" id="{5E77003C-03CC-129E-9EA0-0DC63FA686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3" name="Slide Number Placeholder 1">
            <a:extLst>
              <a:ext uri="{FF2B5EF4-FFF2-40B4-BE49-F238E27FC236}">
                <a16:creationId xmlns:a16="http://schemas.microsoft.com/office/drawing/2014/main" id="{28447B59-EC0D-E21E-977F-EC1FBCAD1C4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79620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88654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8198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24731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slideLayout" Target="../slideLayouts/slideLayout53.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image" Target="../media/image24.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10.xml"/><Relationship Id="rId44" Type="http://schemas.openxmlformats.org/officeDocument/2006/relationships/image" Target="../media/image2.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oleObject" Target="../embeddings/oleObject2.bin"/><Relationship Id="rId20" Type="http://schemas.openxmlformats.org/officeDocument/2006/relationships/slideLayout" Target="../slideLayouts/slideLayout52.xml"/><Relationship Id="rId41" Type="http://schemas.openxmlformats.org/officeDocument/2006/relationships/tags" Target="../tags/tag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3.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5">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tIns="0" bIns="91440" anchor="t" anchorCtr="0"/>
          <a:lstStyle/>
          <a:p>
            <a:pPr lvl="0" algn="l" fontAlgn="auto">
              <a:lnSpc>
                <a:spcPct val="80000"/>
              </a:lnSpc>
            </a:pPr>
            <a:r>
              <a:rPr lang="en-GB"/>
              <a:t>Click to edit master title style</a:t>
            </a:r>
            <a:endParaRPr lang="de-DE"/>
          </a:p>
        </p:txBody>
      </p:sp>
    </p:spTree>
  </p:cSld>
  <p:clrMap bg1="lt1" tx1="dk1" bg2="lt2" tx2="dk2" accent1="accent1" accent2="accent2" accent3="accent3" accent4="accent4" accent5="accent5" accent6="accent6" hlink="hlink" folHlink="folHlink"/>
  <p:sldLayoutIdLst>
    <p:sldLayoutId id="2147483683" r:id="rId1"/>
    <p:sldLayoutId id="2147483728" r:id="rId2"/>
    <p:sldLayoutId id="2147483729" r:id="rId3"/>
    <p:sldLayoutId id="2147483723" r:id="rId4"/>
    <p:sldLayoutId id="2147483730" r:id="rId5"/>
    <p:sldLayoutId id="2147483724" r:id="rId6"/>
    <p:sldLayoutId id="2147483725" r:id="rId7"/>
    <p:sldLayoutId id="2147483731" r:id="rId8"/>
    <p:sldLayoutId id="2147483671" r:id="rId9"/>
    <p:sldLayoutId id="2147483672" r:id="rId10"/>
    <p:sldLayoutId id="2147483726" r:id="rId11"/>
    <p:sldLayoutId id="2147483675" r:id="rId12"/>
    <p:sldLayoutId id="2147483667" r:id="rId13"/>
    <p:sldLayoutId id="2147483691" r:id="rId14"/>
    <p:sldLayoutId id="2147483699" r:id="rId15"/>
    <p:sldLayoutId id="2147483732" r:id="rId16"/>
    <p:sldLayoutId id="2147483721" r:id="rId17"/>
    <p:sldLayoutId id="2147483719" r:id="rId18"/>
    <p:sldLayoutId id="2147483720"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7C3A5F4-201E-90EA-28D9-2DDFBA4E752E}"/>
              </a:ext>
            </a:extLst>
          </p:cNvPr>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6" name="Picture 1">
            <a:extLst>
              <a:ext uri="{FF2B5EF4-FFF2-40B4-BE49-F238E27FC236}">
                <a16:creationId xmlns:a16="http://schemas.microsoft.com/office/drawing/2014/main" id="{81D64A67-8CC7-15E1-48BD-A856FDA78F5D}"/>
              </a:ext>
            </a:extLst>
          </p:cNvPr>
          <p:cNvPicPr>
            <a:picLocks noChangeAspect="1"/>
          </p:cNvPicPr>
          <p:nvPr userDrawn="1"/>
        </p:nvPicPr>
        <p:blipFill>
          <a:blip r:embed="rId45">
            <a:extLst>
              <a:ext uri="{28A0092B-C50C-407E-A947-70E740481C1C}">
                <a14:useLocalDpi xmlns:a14="http://schemas.microsoft.com/office/drawing/2010/main"/>
              </a:ext>
            </a:extLst>
          </a:blip>
          <a:srcRect/>
          <a:stretch/>
        </p:blipFill>
        <p:spPr>
          <a:xfrm>
            <a:off x="2468" y="0"/>
            <a:ext cx="12187065" cy="6858000"/>
          </a:xfrm>
          <a:prstGeom prst="rect">
            <a:avLst/>
          </a:prstGeom>
        </p:spPr>
      </p:pic>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4"/>
            </p:custDataLst>
            <p:extLst>
              <p:ext uri="{D42A27DB-BD31-4B8C-83A1-F6EECF244321}">
                <p14:modId xmlns:p14="http://schemas.microsoft.com/office/powerpoint/2010/main" val="86100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5"/>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6"/>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HEINEKEN Core" panose="02000503050000020004" pitchFamily="2" charset="0"/>
                <a:sym typeface="HEINEKEN Core" panose="02000503050000020004" pitchFamily="2"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75">
                <a:solidFill>
                  <a:schemeClr val="tx1"/>
                </a:solidFill>
                <a:latin typeface="HEINEKEN Core" panose="02000503050000020004" pitchFamily="2" charset="0"/>
                <a:sym typeface="HEINEKEN Core" panose="02000503050000020004" pitchFamily="2"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HEINEKEN Core" panose="02000503050000020004" pitchFamily="2" charset="0"/>
                <a:sym typeface="HEINEKEN Core" panose="02000503050000020004" pitchFamily="2"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9" y="1379830"/>
            <a:ext cx="39433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HEINEKEN Core" panose="02000503050000020004" pitchFamily="2" charset="0"/>
                <a:sym typeface="HEINEKEN Core" panose="02000503050000020004" pitchFamily="2"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54736" y="2170801"/>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HEINEKEN Core" panose="02000503050000020004" pitchFamily="2" charset="0"/>
                <a:sym typeface="HEINEKEN Core" panose="02000503050000020004" pitchFamily="2" charset="0"/>
              </a:rPr>
              <a:t>Above Chart Exhibit Title</a:t>
            </a:r>
          </a:p>
          <a:p>
            <a:pPr lvl="0"/>
            <a:r>
              <a:rPr lang="en-US" sz="1600" b="0">
                <a:latin typeface="HEINEKEN Core" panose="02000503050000020004" pitchFamily="2" charset="0"/>
                <a:sym typeface="HEINEKEN Core" panose="02000503050000020004" pitchFamily="2"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2"/>
            <a:ext cx="2769663" cy="1631216"/>
          </a:xfrm>
          <a:prstGeom prst="rect">
            <a:avLst/>
          </a:prstGeom>
        </p:spPr>
        <p:txBody>
          <a:bodyPr vert="horz" wrap="square" lIns="0" tIns="0" rIns="0" bIns="0" rtlCol="0">
            <a:sp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grpSp>
        <p:nvGrpSpPr>
          <p:cNvPr id="170" name="LegendLines" hidden="1">
            <a:extLst>
              <a:ext uri="{FF2B5EF4-FFF2-40B4-BE49-F238E27FC236}">
                <a16:creationId xmlns:a16="http://schemas.microsoft.com/office/drawing/2014/main" id="{9F039AC1-56A9-4752-98E6-CF6DE1F7BEB5}"/>
              </a:ext>
            </a:extLst>
          </p:cNvPr>
          <p:cNvGrpSpPr/>
          <p:nvPr/>
        </p:nvGrpSpPr>
        <p:grpSpPr>
          <a:xfrm>
            <a:off x="10317291" y="3150219"/>
            <a:ext cx="1273474" cy="958286"/>
            <a:chOff x="10162879" y="3243771"/>
            <a:chExt cx="1273476" cy="958287"/>
          </a:xfrm>
        </p:grpSpPr>
        <p:sp>
          <p:nvSpPr>
            <p:cNvPr id="171" name="Legend1" hidden="1">
              <a:extLst>
                <a:ext uri="{FF2B5EF4-FFF2-40B4-BE49-F238E27FC236}">
                  <a16:creationId xmlns:a16="http://schemas.microsoft.com/office/drawing/2014/main" id="{6DD274EB-2F2A-4962-AE22-668D2A210B16}"/>
                </a:ext>
              </a:extLst>
            </p:cNvPr>
            <p:cNvSpPr txBox="1"/>
            <p:nvPr/>
          </p:nvSpPr>
          <p:spPr>
            <a:xfrm>
              <a:off x="10886523" y="324377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2" name="Legend2" hidden="1">
              <a:extLst>
                <a:ext uri="{FF2B5EF4-FFF2-40B4-BE49-F238E27FC236}">
                  <a16:creationId xmlns:a16="http://schemas.microsoft.com/office/drawing/2014/main" id="{28D0A87B-45F7-4085-AEC9-5B2535601DF0}"/>
                </a:ext>
              </a:extLst>
            </p:cNvPr>
            <p:cNvSpPr txBox="1"/>
            <p:nvPr/>
          </p:nvSpPr>
          <p:spPr>
            <a:xfrm>
              <a:off x="10886524" y="361519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3" name="Legend3" hidden="1">
              <a:extLst>
                <a:ext uri="{FF2B5EF4-FFF2-40B4-BE49-F238E27FC236}">
                  <a16:creationId xmlns:a16="http://schemas.microsoft.com/office/drawing/2014/main" id="{340B9B6E-DDEB-4C20-ADBE-23A6DDB44335}"/>
                </a:ext>
              </a:extLst>
            </p:cNvPr>
            <p:cNvSpPr txBox="1"/>
            <p:nvPr/>
          </p:nvSpPr>
          <p:spPr>
            <a:xfrm>
              <a:off x="10886523" y="3986614"/>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4" name="LineLegend3" hidden="1">
              <a:extLst>
                <a:ext uri="{FF2B5EF4-FFF2-40B4-BE49-F238E27FC236}">
                  <a16:creationId xmlns:a16="http://schemas.microsoft.com/office/drawing/2014/main" id="{4268FAC4-AF56-4E03-BD82-AF47CD81A8C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5" name="LineLegend2" hidden="1">
              <a:extLst>
                <a:ext uri="{FF2B5EF4-FFF2-40B4-BE49-F238E27FC236}">
                  <a16:creationId xmlns:a16="http://schemas.microsoft.com/office/drawing/2014/main" id="{61CE115E-955E-457A-AE2E-22A7A2EAE6F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6" name="LineLegend1" hidden="1">
              <a:extLst>
                <a:ext uri="{FF2B5EF4-FFF2-40B4-BE49-F238E27FC236}">
                  <a16:creationId xmlns:a16="http://schemas.microsoft.com/office/drawing/2014/main" id="{E438EDC9-01DE-4D71-8B74-6D68CAE49A6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grpSp>
      <p:grpSp>
        <p:nvGrpSpPr>
          <p:cNvPr id="177" name="LegendMoons" hidden="1">
            <a:extLst>
              <a:ext uri="{FF2B5EF4-FFF2-40B4-BE49-F238E27FC236}">
                <a16:creationId xmlns:a16="http://schemas.microsoft.com/office/drawing/2014/main" id="{15137132-ED4B-4867-8957-24C0E986E953}"/>
              </a:ext>
            </a:extLst>
          </p:cNvPr>
          <p:cNvGrpSpPr/>
          <p:nvPr/>
        </p:nvGrpSpPr>
        <p:grpSpPr>
          <a:xfrm>
            <a:off x="10688311" y="1145373"/>
            <a:ext cx="902464" cy="1731858"/>
            <a:chOff x="7723680" y="1702457"/>
            <a:chExt cx="902464" cy="1731859"/>
          </a:xfrm>
        </p:grpSpPr>
        <p:sp>
          <p:nvSpPr>
            <p:cNvPr id="178" name="Legend1" hidden="1">
              <a:extLst>
                <a:ext uri="{FF2B5EF4-FFF2-40B4-BE49-F238E27FC236}">
                  <a16:creationId xmlns:a16="http://schemas.microsoft.com/office/drawing/2014/main" id="{E3584F38-0358-4FC1-B87D-90F67002F849}"/>
                </a:ext>
              </a:extLst>
            </p:cNvPr>
            <p:cNvSpPr txBox="1"/>
            <p:nvPr/>
          </p:nvSpPr>
          <p:spPr>
            <a:xfrm>
              <a:off x="8076314" y="1709816"/>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86" name="Legend2" hidden="1">
              <a:extLst>
                <a:ext uri="{FF2B5EF4-FFF2-40B4-BE49-F238E27FC236}">
                  <a16:creationId xmlns:a16="http://schemas.microsoft.com/office/drawing/2014/main" id="{DE586444-F6C0-4C18-BBC5-E9468D62619F}"/>
                </a:ext>
              </a:extLst>
            </p:cNvPr>
            <p:cNvSpPr txBox="1"/>
            <p:nvPr/>
          </p:nvSpPr>
          <p:spPr>
            <a:xfrm>
              <a:off x="8076314" y="2085275"/>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8" name="Legend3" hidden="1">
              <a:extLst>
                <a:ext uri="{FF2B5EF4-FFF2-40B4-BE49-F238E27FC236}">
                  <a16:creationId xmlns:a16="http://schemas.microsoft.com/office/drawing/2014/main" id="{B102E38F-55DD-4E8E-B971-E87F45841FF8}"/>
                </a:ext>
              </a:extLst>
            </p:cNvPr>
            <p:cNvSpPr txBox="1"/>
            <p:nvPr/>
          </p:nvSpPr>
          <p:spPr>
            <a:xfrm>
              <a:off x="8076314" y="2460733"/>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9" name="Legend4" hidden="1">
              <a:extLst>
                <a:ext uri="{FF2B5EF4-FFF2-40B4-BE49-F238E27FC236}">
                  <a16:creationId xmlns:a16="http://schemas.microsoft.com/office/drawing/2014/main" id="{1446C037-674E-424F-ADE2-D4695E632F8C}"/>
                </a:ext>
              </a:extLst>
            </p:cNvPr>
            <p:cNvSpPr txBox="1"/>
            <p:nvPr/>
          </p:nvSpPr>
          <p:spPr>
            <a:xfrm>
              <a:off x="8076314" y="2836192"/>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00" name="Legend5" hidden="1">
              <a:extLst>
                <a:ext uri="{FF2B5EF4-FFF2-40B4-BE49-F238E27FC236}">
                  <a16:creationId xmlns:a16="http://schemas.microsoft.com/office/drawing/2014/main" id="{97FAE878-BAEA-4E19-BB51-A0564F671BBE}"/>
                </a:ext>
              </a:extLst>
            </p:cNvPr>
            <p:cNvSpPr txBox="1"/>
            <p:nvPr/>
          </p:nvSpPr>
          <p:spPr>
            <a:xfrm>
              <a:off x="8076314" y="3211654"/>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nvGrpSpPr>
            <p:cNvPr id="201" name="MoonLegend1" hidden="1">
              <a:extLst>
                <a:ext uri="{FF2B5EF4-FFF2-40B4-BE49-F238E27FC236}">
                  <a16:creationId xmlns:a16="http://schemas.microsoft.com/office/drawing/2014/main" id="{E2A2A91B-C2ED-4638-8B27-9334BF57389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EE1A26C0-35D6-4BFE-A8AA-69A44DF3A8B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5" name="Arc 214" hidden="1">
                <a:extLst>
                  <a:ext uri="{FF2B5EF4-FFF2-40B4-BE49-F238E27FC236}">
                    <a16:creationId xmlns:a16="http://schemas.microsoft.com/office/drawing/2014/main" id="{41EE2985-B32D-4006-953F-3D0B126E874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2" name="MoonLegend2" hidden="1">
              <a:extLst>
                <a:ext uri="{FF2B5EF4-FFF2-40B4-BE49-F238E27FC236}">
                  <a16:creationId xmlns:a16="http://schemas.microsoft.com/office/drawing/2014/main" id="{90071E4B-34F5-4862-8888-1F3AB6665DB7}"/>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726BB31-88A0-433B-BAF5-D3D1418F3B8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3" name="Arc 212" hidden="1">
                <a:extLst>
                  <a:ext uri="{FF2B5EF4-FFF2-40B4-BE49-F238E27FC236}">
                    <a16:creationId xmlns:a16="http://schemas.microsoft.com/office/drawing/2014/main" id="{57F0564B-58EB-45D2-9246-FB8D9745A9AD}"/>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3" name="MoonLegend3" hidden="1">
              <a:extLst>
                <a:ext uri="{FF2B5EF4-FFF2-40B4-BE49-F238E27FC236}">
                  <a16:creationId xmlns:a16="http://schemas.microsoft.com/office/drawing/2014/main" id="{56C51B3B-E4A2-4BB3-BCA2-267EDEF1E414}"/>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D2B86D6-0BA7-4201-9D0D-16D386BD8AC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1" name="Arc 210" hidden="1">
                <a:extLst>
                  <a:ext uri="{FF2B5EF4-FFF2-40B4-BE49-F238E27FC236}">
                    <a16:creationId xmlns:a16="http://schemas.microsoft.com/office/drawing/2014/main" id="{B6288512-66D0-46B0-83C4-1DDA03B7379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4" name="MoonLegend4" hidden="1">
              <a:extLst>
                <a:ext uri="{FF2B5EF4-FFF2-40B4-BE49-F238E27FC236}">
                  <a16:creationId xmlns:a16="http://schemas.microsoft.com/office/drawing/2014/main" id="{67ECED74-EC96-4A1E-AD93-F2C7799AC46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1BDD5246-E52F-4212-B0E1-C7ACD197BB6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9" name="Arc 208" hidden="1">
                <a:extLst>
                  <a:ext uri="{FF2B5EF4-FFF2-40B4-BE49-F238E27FC236}">
                    <a16:creationId xmlns:a16="http://schemas.microsoft.com/office/drawing/2014/main" id="{CD0D0AD1-52CF-4EF5-A0F2-9B650767F910}"/>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5" name="MoonLegend5" hidden="1">
              <a:extLst>
                <a:ext uri="{FF2B5EF4-FFF2-40B4-BE49-F238E27FC236}">
                  <a16:creationId xmlns:a16="http://schemas.microsoft.com/office/drawing/2014/main" id="{D6F414F9-B4E5-4D13-88EA-0FACC4C57820}"/>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0779873-FBEF-4F26-917A-09E6403056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7" name="Arc 206" hidden="1">
                <a:extLst>
                  <a:ext uri="{FF2B5EF4-FFF2-40B4-BE49-F238E27FC236}">
                    <a16:creationId xmlns:a16="http://schemas.microsoft.com/office/drawing/2014/main" id="{B0C13CC8-7655-4C22-BC36-98C54EC496B9}"/>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grpSp>
        <p:nvGrpSpPr>
          <p:cNvPr id="216" name="LegendBoxes" hidden="1">
            <a:extLst>
              <a:ext uri="{FF2B5EF4-FFF2-40B4-BE49-F238E27FC236}">
                <a16:creationId xmlns:a16="http://schemas.microsoft.com/office/drawing/2014/main" id="{D77E1C2E-9FDE-4A73-86C3-ECE8BDE52EC0}"/>
              </a:ext>
            </a:extLst>
          </p:cNvPr>
          <p:cNvGrpSpPr/>
          <p:nvPr/>
        </p:nvGrpSpPr>
        <p:grpSpPr>
          <a:xfrm>
            <a:off x="10714777" y="4381498"/>
            <a:ext cx="875977" cy="1717281"/>
            <a:chOff x="10652400" y="4322823"/>
            <a:chExt cx="875979" cy="1717282"/>
          </a:xfrm>
        </p:grpSpPr>
        <p:sp>
          <p:nvSpPr>
            <p:cNvPr id="217" name="RectangleLegend1" hidden="1">
              <a:extLst>
                <a:ext uri="{FF2B5EF4-FFF2-40B4-BE49-F238E27FC236}">
                  <a16:creationId xmlns:a16="http://schemas.microsoft.com/office/drawing/2014/main" id="{150FC312-FC41-49AE-8714-9B93CA3E00F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8" name="RectangleLegend2" hidden="1">
              <a:extLst>
                <a:ext uri="{FF2B5EF4-FFF2-40B4-BE49-F238E27FC236}">
                  <a16:creationId xmlns:a16="http://schemas.microsoft.com/office/drawing/2014/main" id="{67B79904-CF60-40E4-BE3F-CD355DD57E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9" name="RectangleLegend3" hidden="1">
              <a:extLst>
                <a:ext uri="{FF2B5EF4-FFF2-40B4-BE49-F238E27FC236}">
                  <a16:creationId xmlns:a16="http://schemas.microsoft.com/office/drawing/2014/main" id="{CFCC7B73-F44C-4327-87C0-28C078F322A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0" name="RectangleLegend4" hidden="1">
              <a:extLst>
                <a:ext uri="{FF2B5EF4-FFF2-40B4-BE49-F238E27FC236}">
                  <a16:creationId xmlns:a16="http://schemas.microsoft.com/office/drawing/2014/main" id="{C312F557-47D5-4EDD-8EE2-9B176B28597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1" name="RectangleLegend5" hidden="1">
              <a:extLst>
                <a:ext uri="{FF2B5EF4-FFF2-40B4-BE49-F238E27FC236}">
                  <a16:creationId xmlns:a16="http://schemas.microsoft.com/office/drawing/2014/main" id="{19378EE9-AEC0-455A-9E02-E86FE27FCAE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2" name="Legend1" hidden="1">
              <a:extLst>
                <a:ext uri="{FF2B5EF4-FFF2-40B4-BE49-F238E27FC236}">
                  <a16:creationId xmlns:a16="http://schemas.microsoft.com/office/drawing/2014/main" id="{B835265B-3ECF-496E-BD37-3AFC71AE13BC}"/>
                </a:ext>
              </a:extLst>
            </p:cNvPr>
            <p:cNvSpPr txBox="1"/>
            <p:nvPr/>
          </p:nvSpPr>
          <p:spPr>
            <a:xfrm>
              <a:off x="10978546" y="432282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3" name="Legend2" hidden="1">
              <a:extLst>
                <a:ext uri="{FF2B5EF4-FFF2-40B4-BE49-F238E27FC236}">
                  <a16:creationId xmlns:a16="http://schemas.microsoft.com/office/drawing/2014/main" id="{96847852-03B6-4D74-ABC1-18410C40013F}"/>
                </a:ext>
              </a:extLst>
            </p:cNvPr>
            <p:cNvSpPr txBox="1"/>
            <p:nvPr/>
          </p:nvSpPr>
          <p:spPr>
            <a:xfrm>
              <a:off x="10978548" y="4702322"/>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4" name="Legend3" hidden="1">
              <a:extLst>
                <a:ext uri="{FF2B5EF4-FFF2-40B4-BE49-F238E27FC236}">
                  <a16:creationId xmlns:a16="http://schemas.microsoft.com/office/drawing/2014/main" id="{194F896E-BE3D-40F3-AD62-0EA8BD5DAF92}"/>
                </a:ext>
              </a:extLst>
            </p:cNvPr>
            <p:cNvSpPr txBox="1"/>
            <p:nvPr/>
          </p:nvSpPr>
          <p:spPr>
            <a:xfrm>
              <a:off x="10978547" y="5081819"/>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5" name="Legend4" hidden="1">
              <a:extLst>
                <a:ext uri="{FF2B5EF4-FFF2-40B4-BE49-F238E27FC236}">
                  <a16:creationId xmlns:a16="http://schemas.microsoft.com/office/drawing/2014/main" id="{0BB6E76F-CDEC-439C-9CC3-7513BFFB4D83}"/>
                </a:ext>
              </a:extLst>
            </p:cNvPr>
            <p:cNvSpPr txBox="1"/>
            <p:nvPr/>
          </p:nvSpPr>
          <p:spPr>
            <a:xfrm>
              <a:off x="10978547" y="545324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6" name="Legend5" hidden="1">
              <a:extLst>
                <a:ext uri="{FF2B5EF4-FFF2-40B4-BE49-F238E27FC236}">
                  <a16:creationId xmlns:a16="http://schemas.microsoft.com/office/drawing/2014/main" id="{53DB6311-6403-4710-B875-A7CE066978E1}"/>
                </a:ext>
              </a:extLst>
            </p:cNvPr>
            <p:cNvSpPr txBox="1"/>
            <p:nvPr/>
          </p:nvSpPr>
          <p:spPr>
            <a:xfrm>
              <a:off x="10978546" y="582466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77868"/>
            <a:ext cx="11082528" cy="461665"/>
          </a:xfrm>
          <a:prstGeom prst="rect">
            <a:avLst/>
          </a:prstGeom>
        </p:spPr>
        <p:txBody>
          <a:bodyPr vert="horz" wrap="square" lIns="0" tIns="0" rIns="0" bIns="0" rtlCol="0" anchor="b" anchorCtr="0">
            <a:spAutoFit/>
          </a:bodyPr>
          <a:lstStyle/>
          <a:p>
            <a:pPr lvl="0"/>
            <a:r>
              <a:rPr lang="nl-NL"/>
              <a:t>Klik om stijl te bewerken</a:t>
            </a:r>
            <a:endParaRPr lang="en-US"/>
          </a:p>
        </p:txBody>
      </p:sp>
      <p:sp>
        <p:nvSpPr>
          <p:cNvPr id="8" name="Slide Number Placeholder 1">
            <a:extLst>
              <a:ext uri="{FF2B5EF4-FFF2-40B4-BE49-F238E27FC236}">
                <a16:creationId xmlns:a16="http://schemas.microsoft.com/office/drawing/2014/main" id="{F5CF1886-FF91-6F0C-1FB5-A5C9055ADEF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531892533"/>
      </p:ext>
    </p:extLst>
  </p:cSld>
  <p:clrMap bg1="lt1" tx1="dk1" bg2="lt2" tx2="dk2" accent1="accent1" accent2="accent2" accent3="accent3" accent4="accent4" accent5="accent5" accent6="accent6" hlink="hlink" folHlink="folHlink"/>
  <p:sldLayoutIdLst>
    <p:sldLayoutId id="2147483742" r:id="rId1"/>
    <p:sldLayoutId id="2147483733" r:id="rId2"/>
    <p:sldLayoutId id="2147483734" r:id="rId3"/>
    <p:sldLayoutId id="2147483743" r:id="rId4"/>
    <p:sldLayoutId id="2147483757" r:id="rId5"/>
    <p:sldLayoutId id="2147483745" r:id="rId6"/>
    <p:sldLayoutId id="2147483764" r:id="rId7"/>
    <p:sldLayoutId id="2147483765" r:id="rId8"/>
    <p:sldLayoutId id="2147483748" r:id="rId9"/>
    <p:sldLayoutId id="2147483749" r:id="rId10"/>
    <p:sldLayoutId id="2147483750" r:id="rId11"/>
    <p:sldLayoutId id="2147483751" r:id="rId12"/>
    <p:sldLayoutId id="2147483752" r:id="rId13"/>
    <p:sldLayoutId id="2147483766" r:id="rId14"/>
    <p:sldLayoutId id="2147483767" r:id="rId15"/>
    <p:sldLayoutId id="2147483768" r:id="rId16"/>
    <p:sldLayoutId id="2147483769" r:id="rId17"/>
    <p:sldLayoutId id="2147483770" r:id="rId18"/>
    <p:sldLayoutId id="2147483753" r:id="rId19"/>
    <p:sldLayoutId id="2147483754" r:id="rId20"/>
    <p:sldLayoutId id="2147483739" r:id="rId21"/>
    <p:sldLayoutId id="2147483740" r:id="rId22"/>
  </p:sldLayoutIdLst>
  <p:hf hdr="0" ftr="0" dt="0"/>
  <p:txStyles>
    <p:titleStyle>
      <a:lvl1pPr algn="l" defTabSz="914377" rtl="0" eaLnBrk="1" latinLnBrk="0" hangingPunct="1">
        <a:lnSpc>
          <a:spcPct val="100000"/>
        </a:lnSpc>
        <a:spcBef>
          <a:spcPct val="0"/>
        </a:spcBef>
        <a:buNone/>
        <a:defRPr lang="en-US" sz="3000" b="1" kern="1200" spc="0" baseline="0" dirty="0">
          <a:ln w="6350" cap="flat">
            <a:noFill/>
            <a:miter lim="800000"/>
          </a:ln>
          <a:solidFill>
            <a:schemeClr val="tx1"/>
          </a:solidFill>
          <a:latin typeface="HEINEKEN Core" panose="02000503050000020004" pitchFamily="2" charset="0"/>
          <a:ea typeface="+mj-ea"/>
          <a:cs typeface="+mj-cs"/>
          <a:sym typeface="HEINEKEN Core" panose="02000503050000020004" pitchFamily="2" charset="0"/>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HEINEKEN Core" panose="02000503050000020004" pitchFamily="2" charset="0"/>
          <a:ea typeface="+mn-ea"/>
          <a:cs typeface="Arial" panose="020B0604020202020204" pitchFamily="34" charset="0"/>
          <a:sym typeface="HEINEKEN Core" panose="02000503050000020004" pitchFamily="2" charset="0"/>
        </a:defRPr>
      </a:lvl1pPr>
      <a:lvl2pPr marL="228594" indent="-228594"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2pPr>
      <a:lvl3pPr marL="438901" indent="-210307"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3pPr>
      <a:lvl4pPr marL="594345" indent="-155444"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4pPr>
      <a:lvl5pPr marL="813796" indent="-146300"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4" userDrawn="1">
          <p15:clr>
            <a:srgbClr val="5ACBF0"/>
          </p15:clr>
        </p15:guide>
        <p15:guide id="3" orient="horz" pos="5216" userDrawn="1">
          <p15:clr>
            <a:srgbClr val="5ACBF0"/>
          </p15:clr>
        </p15:guide>
        <p15:guide id="4" orient="horz" pos="1433" userDrawn="1">
          <p15:clr>
            <a:srgbClr val="F26B43"/>
          </p15:clr>
        </p15:guide>
        <p15:guide id="5" pos="9772" userDrawn="1">
          <p15:clr>
            <a:srgbClr val="F26B43"/>
          </p15:clr>
        </p15:guide>
        <p15:guide id="6" pos="460" userDrawn="1">
          <p15:clr>
            <a:srgbClr val="F26B43"/>
          </p15:clr>
        </p15:guide>
        <p15:guide id="8" orient="horz" pos="541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9DD8FB4-21C9-3FFC-C0CF-1916E3D133F9}"/>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1">
            <a:extLst>
              <a:ext uri="{FF2B5EF4-FFF2-40B4-BE49-F238E27FC236}">
                <a16:creationId xmlns:a16="http://schemas.microsoft.com/office/drawing/2014/main" id="{7A353CA3-24E1-C76B-C030-89F244AB0A6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9"/>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Slide Number Placeholder 1">
            <a:extLst>
              <a:ext uri="{FF2B5EF4-FFF2-40B4-BE49-F238E27FC236}">
                <a16:creationId xmlns:a16="http://schemas.microsoft.com/office/drawing/2014/main" id="{088F348A-4EEB-0D3B-9015-719A12F71A6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13760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914377" rtl="0" eaLnBrk="1" latinLnBrk="0" hangingPunct="1">
        <a:lnSpc>
          <a:spcPct val="90000"/>
        </a:lnSpc>
        <a:spcBef>
          <a:spcPct val="0"/>
        </a:spcBef>
        <a:buNone/>
        <a:defRPr sz="3000" b="1" kern="1200">
          <a:solidFill>
            <a:schemeClr val="tx2"/>
          </a:solidFill>
          <a:latin typeface="HEINEKEN Core" panose="02000503050000020004" pitchFamily="2" charset="0"/>
          <a:ea typeface="+mj-ea"/>
          <a:cs typeface="+mj-cs"/>
        </a:defRPr>
      </a:lvl1pPr>
    </p:titleStyle>
    <p:bodyStyle>
      <a:lvl1pPr marL="0" indent="0" algn="l" defTabSz="914377" rtl="0" eaLnBrk="1" latinLnBrk="0" hangingPunct="1">
        <a:lnSpc>
          <a:spcPct val="90000"/>
        </a:lnSpc>
        <a:spcBef>
          <a:spcPts val="0"/>
        </a:spcBef>
        <a:spcAft>
          <a:spcPts val="800"/>
        </a:spcAft>
        <a:buFont typeface="Arial" panose="020B0604020202020204" pitchFamily="34" charset="0"/>
        <a:buNone/>
        <a:defRPr sz="1800" kern="1200">
          <a:solidFill>
            <a:schemeClr val="tx2"/>
          </a:solidFill>
          <a:latin typeface="HEINEKEN Core" panose="02000503050000020004" pitchFamily="2" charset="0"/>
          <a:ea typeface="+mn-ea"/>
          <a:cs typeface="+mn-cs"/>
        </a:defRPr>
      </a:lvl1pPr>
      <a:lvl2pPr marL="190495"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2pPr>
      <a:lvl3pPr marL="360354"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3pPr>
      <a:lvl4pPr marL="538149"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4pPr>
      <a:lvl5pPr marL="714357"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47.png"/><Relationship Id="rId1" Type="http://schemas.openxmlformats.org/officeDocument/2006/relationships/slideLayout" Target="../slideLayouts/slideLayout17.xml"/><Relationship Id="rId6" Type="http://schemas.openxmlformats.org/officeDocument/2006/relationships/image" Target="../media/image49.png"/><Relationship Id="rId5" Type="http://schemas.microsoft.com/office/2007/relationships/hdphoto" Target="../media/hdphoto4.wdp"/><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oleObject" Target="../embeddings/oleObject22.bin"/><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slideLayout" Target="../slideLayouts/slideLayout1.xml"/><Relationship Id="rId2" Type="http://schemas.openxmlformats.org/officeDocument/2006/relationships/tags" Target="../tags/tag130.xml"/><Relationship Id="rId16" Type="http://schemas.openxmlformats.org/officeDocument/2006/relationships/image" Target="../media/image51.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image" Target="../media/image29.png"/><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image" Target="../media/image25.emf"/></Relationships>
</file>

<file path=ppt/slides/_rels/slide1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2.bin"/><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slideLayout" Target="../slideLayouts/slideLayout1.xml"/><Relationship Id="rId1" Type="http://schemas.openxmlformats.org/officeDocument/2006/relationships/tags" Target="../tags/tag140.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29.png"/><Relationship Id="rId10" Type="http://schemas.openxmlformats.org/officeDocument/2006/relationships/image" Target="../media/image56.png"/><Relationship Id="rId4" Type="http://schemas.openxmlformats.org/officeDocument/2006/relationships/image" Target="../media/image25.emf"/><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5.png"/><Relationship Id="rId3" Type="http://schemas.openxmlformats.org/officeDocument/2006/relationships/oleObject" Target="../embeddings/oleObject22.bin"/><Relationship Id="rId7" Type="http://schemas.openxmlformats.org/officeDocument/2006/relationships/image" Target="../media/image59.png"/><Relationship Id="rId12" Type="http://schemas.openxmlformats.org/officeDocument/2006/relationships/image" Target="../media/image54.png"/><Relationship Id="rId17" Type="http://schemas.openxmlformats.org/officeDocument/2006/relationships/image" Target="../media/image65.svg"/><Relationship Id="rId2" Type="http://schemas.openxmlformats.org/officeDocument/2006/relationships/slideLayout" Target="../slideLayouts/slideLayout1.xml"/><Relationship Id="rId16" Type="http://schemas.openxmlformats.org/officeDocument/2006/relationships/image" Target="../media/image64.png"/><Relationship Id="rId1" Type="http://schemas.openxmlformats.org/officeDocument/2006/relationships/tags" Target="../tags/tag141.xml"/><Relationship Id="rId6" Type="http://schemas.openxmlformats.org/officeDocument/2006/relationships/image" Target="../media/image52.png"/><Relationship Id="rId11" Type="http://schemas.openxmlformats.org/officeDocument/2006/relationships/image" Target="../media/image63.png"/><Relationship Id="rId5" Type="http://schemas.openxmlformats.org/officeDocument/2006/relationships/image" Target="../media/image29.png"/><Relationship Id="rId1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25.emf"/><Relationship Id="rId9" Type="http://schemas.openxmlformats.org/officeDocument/2006/relationships/image" Target="../media/image61.png"/><Relationship Id="rId1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2.xml"/><Relationship Id="rId5" Type="http://schemas.openxmlformats.org/officeDocument/2006/relationships/image" Target="../media/image29.png"/><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3.xml"/><Relationship Id="rId5" Type="http://schemas.openxmlformats.org/officeDocument/2006/relationships/image" Target="../media/image29.png"/><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4.xml"/><Relationship Id="rId5" Type="http://schemas.openxmlformats.org/officeDocument/2006/relationships/image" Target="../media/image29.png"/><Relationship Id="rId4" Type="http://schemas.openxmlformats.org/officeDocument/2006/relationships/image" Target="../media/image2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0.xml"/><Relationship Id="rId1" Type="http://schemas.openxmlformats.org/officeDocument/2006/relationships/tags" Target="../tags/tag128.xml"/><Relationship Id="rId5" Type="http://schemas.openxmlformats.org/officeDocument/2006/relationships/image" Target="../media/image32.png"/><Relationship Id="rId4" Type="http://schemas.openxmlformats.org/officeDocument/2006/relationships/image" Target="../media/image31.emf"/></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7.png"/><Relationship Id="rId3" Type="http://schemas.openxmlformats.org/officeDocument/2006/relationships/notesSlide" Target="../notesSlides/notesSlide5.xml"/><Relationship Id="rId7" Type="http://schemas.openxmlformats.org/officeDocument/2006/relationships/image" Target="../media/image52.png"/><Relationship Id="rId12" Type="http://schemas.openxmlformats.org/officeDocument/2006/relationships/image" Target="../media/image66.png"/><Relationship Id="rId2" Type="http://schemas.openxmlformats.org/officeDocument/2006/relationships/slideLayout" Target="../slideLayouts/slideLayout1.xml"/><Relationship Id="rId16" Type="http://schemas.openxmlformats.org/officeDocument/2006/relationships/image" Target="../media/image65.svg"/><Relationship Id="rId1" Type="http://schemas.openxmlformats.org/officeDocument/2006/relationships/tags" Target="../tags/tag145.xml"/><Relationship Id="rId6" Type="http://schemas.openxmlformats.org/officeDocument/2006/relationships/image" Target="../media/image29.png"/><Relationship Id="rId11" Type="http://schemas.openxmlformats.org/officeDocument/2006/relationships/image" Target="../media/image56.png"/><Relationship Id="rId5" Type="http://schemas.openxmlformats.org/officeDocument/2006/relationships/image" Target="../media/image25.emf"/><Relationship Id="rId15" Type="http://schemas.openxmlformats.org/officeDocument/2006/relationships/image" Target="../media/image64.png"/><Relationship Id="rId10" Type="http://schemas.openxmlformats.org/officeDocument/2006/relationships/image" Target="../media/image55.png"/><Relationship Id="rId4" Type="http://schemas.openxmlformats.org/officeDocument/2006/relationships/oleObject" Target="../embeddings/oleObject22.bin"/><Relationship Id="rId9" Type="http://schemas.openxmlformats.org/officeDocument/2006/relationships/image" Target="../media/image54.png"/><Relationship Id="rId14" Type="http://schemas.openxmlformats.org/officeDocument/2006/relationships/image" Target="../media/image6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29.png"/><Relationship Id="rId7" Type="http://schemas.openxmlformats.org/officeDocument/2006/relationships/image" Target="../media/image72.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notesSlide" Target="../notesSlides/notesSlide7.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1.xml"/><Relationship Id="rId6" Type="http://schemas.openxmlformats.org/officeDocument/2006/relationships/image" Target="../media/image71.png"/><Relationship Id="rId11" Type="http://schemas.openxmlformats.org/officeDocument/2006/relationships/image" Target="../media/image75.png"/><Relationship Id="rId5" Type="http://schemas.openxmlformats.org/officeDocument/2006/relationships/image" Target="../media/image70.png"/><Relationship Id="rId15" Type="http://schemas.openxmlformats.org/officeDocument/2006/relationships/image" Target="../media/image79.png"/><Relationship Id="rId10" Type="http://schemas.openxmlformats.org/officeDocument/2006/relationships/image" Target="../media/image74.png"/><Relationship Id="rId19" Type="http://schemas.openxmlformats.org/officeDocument/2006/relationships/image" Target="../media/image83.png"/><Relationship Id="rId4" Type="http://schemas.openxmlformats.org/officeDocument/2006/relationships/image" Target="../media/image69.png"/><Relationship Id="rId9" Type="http://schemas.openxmlformats.org/officeDocument/2006/relationships/image" Target="../media/image73.png"/><Relationship Id="rId14" Type="http://schemas.openxmlformats.org/officeDocument/2006/relationships/image" Target="../media/image7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76893" y="1979720"/>
            <a:ext cx="4486963" cy="1913303"/>
          </a:xfrm>
        </p:spPr>
        <p:txBody>
          <a:bodyPr/>
          <a:lstStyle/>
          <a:p>
            <a:r>
              <a:rPr lang="en-US" dirty="0"/>
              <a:t>TPO &amp; Customer Targeting Recommendation</a:t>
            </a:r>
            <a:endParaRPr lang="nl-NL" dirty="0"/>
          </a:p>
        </p:txBody>
      </p:sp>
      <p:sp>
        <p:nvSpPr>
          <p:cNvPr id="5" name="Tijdelijke aanduiding voor tekst 4"/>
          <p:cNvSpPr>
            <a:spLocks noGrp="1"/>
          </p:cNvSpPr>
          <p:nvPr>
            <p:ph type="body" sz="quarter" idx="63"/>
          </p:nvPr>
        </p:nvSpPr>
        <p:spPr>
          <a:xfrm>
            <a:off x="376685" y="3949246"/>
            <a:ext cx="4486963" cy="305777"/>
          </a:xfrm>
        </p:spPr>
        <p:txBody>
          <a:bodyPr>
            <a:noAutofit/>
          </a:bodyPr>
          <a:lstStyle/>
          <a:p>
            <a:r>
              <a:rPr lang="nl-NL" sz="1800" b="1" spc="300" dirty="0"/>
              <a:t>Data &amp; Analytic, D&amp;T</a:t>
            </a: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36808"/>
            <a:ext cx="2866820" cy="716705"/>
          </a:xfrm>
          <a:prstGeom prst="rect">
            <a:avLst/>
          </a:prstGeom>
          <a:noFill/>
          <a:ln>
            <a:noFill/>
          </a:ln>
          <a:extLst>
            <a:ext uri="{53640926-AAD7-44D8-BBD7-CCE9431645EC}">
              <a14:shadowObscured xmlns:a14="http://schemas.microsoft.com/office/drawing/2010/main"/>
            </a:ext>
          </a:extLst>
        </p:spPr>
      </p:pic>
      <p:sp>
        <p:nvSpPr>
          <p:cNvPr id="3" name="Tijdelijke aanduiding voor tekst 4">
            <a:extLst>
              <a:ext uri="{FF2B5EF4-FFF2-40B4-BE49-F238E27FC236}">
                <a16:creationId xmlns:a16="http://schemas.microsoft.com/office/drawing/2014/main" id="{797C5129-2A4D-518E-21EC-D245A4EF83CA}"/>
              </a:ext>
            </a:extLst>
          </p:cNvPr>
          <p:cNvSpPr txBox="1">
            <a:spLocks/>
          </p:cNvSpPr>
          <p:nvPr/>
        </p:nvSpPr>
        <p:spPr>
          <a:xfrm>
            <a:off x="376685" y="4370431"/>
            <a:ext cx="4486963" cy="305777"/>
          </a:xfrm>
          <a:prstGeom prst="rect">
            <a:avLst/>
          </a:prstGeom>
        </p:spPr>
        <p:txBody>
          <a:bodyPr vert="horz" lIns="91440" tIns="45720" rIns="91440" bIns="45720" rtlCol="0">
            <a:normAutofit fontScale="70000" lnSpcReduction="20000"/>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b="1" spc="300" dirty="0"/>
              <a:t>Votana SREY, Data Steward</a:t>
            </a:r>
          </a:p>
        </p:txBody>
      </p:sp>
      <p:pic>
        <p:nvPicPr>
          <p:cNvPr id="6" name="Picture 5">
            <a:extLst>
              <a:ext uri="{FF2B5EF4-FFF2-40B4-BE49-F238E27FC236}">
                <a16:creationId xmlns:a16="http://schemas.microsoft.com/office/drawing/2014/main" id="{1D9532C8-8BDA-96B5-A30D-047D88B9D09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649" y="5355449"/>
            <a:ext cx="3004318" cy="1502552"/>
          </a:xfrm>
          <a:prstGeom prst="rect">
            <a:avLst/>
          </a:prstGeom>
          <a:noFill/>
          <a:ln>
            <a:noFill/>
          </a:ln>
        </p:spPr>
      </p:pic>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5">
            <a:extLst>
              <a:ext uri="{28A0092B-C50C-407E-A947-70E740481C1C}">
                <a14:useLocalDpi xmlns:a14="http://schemas.microsoft.com/office/drawing/2010/main" val="0"/>
              </a:ext>
            </a:extLst>
          </a:blip>
          <a:srcRect r="62561"/>
          <a:stretch/>
        </p:blipFill>
        <p:spPr>
          <a:xfrm>
            <a:off x="-35971" y="39157"/>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5">
            <a:extLst>
              <a:ext uri="{28A0092B-C50C-407E-A947-70E740481C1C}">
                <a14:useLocalDpi xmlns:a14="http://schemas.microsoft.com/office/drawing/2010/main" val="0"/>
              </a:ext>
            </a:extLst>
          </a:blip>
          <a:srcRect l="37507"/>
          <a:stretch/>
        </p:blipFill>
        <p:spPr>
          <a:xfrm>
            <a:off x="509500" y="755862"/>
            <a:ext cx="3147491" cy="866636"/>
          </a:xfrm>
          <a:prstGeom prst="rect">
            <a:avLst/>
          </a:prstGeom>
        </p:spPr>
      </p:pic>
    </p:spTree>
    <p:extLst>
      <p:ext uri="{BB962C8B-B14F-4D97-AF65-F5344CB8AC3E}">
        <p14:creationId xmlns:p14="http://schemas.microsoft.com/office/powerpoint/2010/main" val="11497702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also the trade marketing insight analysis as well. </a:t>
            </a:r>
            <a:endParaRPr lang="en-US" sz="1200" spc="0" dirty="0"/>
          </a:p>
        </p:txBody>
      </p:sp>
      <p:sp>
        <p:nvSpPr>
          <p:cNvPr id="15" name="Text Placeholder 14">
            <a:extLst>
              <a:ext uri="{FF2B5EF4-FFF2-40B4-BE49-F238E27FC236}">
                <a16:creationId xmlns:a16="http://schemas.microsoft.com/office/drawing/2014/main" id="{92F587AD-A3EE-D917-53B7-17C8A5BDD5BF}"/>
              </a:ext>
            </a:extLst>
          </p:cNvPr>
          <p:cNvSpPr>
            <a:spLocks noGrp="1"/>
          </p:cNvSpPr>
          <p:nvPr>
            <p:ph type="body" sz="quarter" idx="75"/>
          </p:nvPr>
        </p:nvSpPr>
        <p:spPr>
          <a:xfrm>
            <a:off x="666487" y="5151266"/>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rade Program Performance Analysis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3367656" y="5109143"/>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dirty="0"/>
          </a:p>
        </p:txBody>
      </p:sp>
      <p:pic>
        <p:nvPicPr>
          <p:cNvPr id="20" name="Picture 19">
            <a:extLst>
              <a:ext uri="{FF2B5EF4-FFF2-40B4-BE49-F238E27FC236}">
                <a16:creationId xmlns:a16="http://schemas.microsoft.com/office/drawing/2014/main" id="{C2E287C0-9C17-A633-7762-5AAA37B8A3C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8742" l="7752" r="88372"/>
                    </a14:imgEffect>
                  </a14:imgLayer>
                </a14:imgProps>
              </a:ext>
            </a:extLst>
          </a:blip>
          <a:stretch>
            <a:fillRect/>
          </a:stretch>
        </p:blipFill>
        <p:spPr>
          <a:xfrm>
            <a:off x="1499390" y="2794682"/>
            <a:ext cx="678234" cy="1671924"/>
          </a:xfrm>
          <a:prstGeom prst="rect">
            <a:avLst/>
          </a:prstGeom>
        </p:spPr>
      </p:pic>
      <p:sp>
        <p:nvSpPr>
          <p:cNvPr id="21" name="Rectangle 20">
            <a:extLst>
              <a:ext uri="{FF2B5EF4-FFF2-40B4-BE49-F238E27FC236}">
                <a16:creationId xmlns:a16="http://schemas.microsoft.com/office/drawing/2014/main" id="{E0064FD7-EFE6-C6D5-7CFB-B42CB9518282}"/>
              </a:ext>
            </a:extLst>
          </p:cNvPr>
          <p:cNvSpPr/>
          <p:nvPr/>
        </p:nvSpPr>
        <p:spPr>
          <a:xfrm>
            <a:off x="550943"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AFF26B3-8221-45AE-D0D3-2981F0010D3A}"/>
              </a:ext>
            </a:extLst>
          </p:cNvPr>
          <p:cNvSpPr/>
          <p:nvPr/>
        </p:nvSpPr>
        <p:spPr>
          <a:xfrm>
            <a:off x="32983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6045669"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7464" l="0" r="98577">
                        <a14:foregroundMark x1="46619" y1="51087" x2="46619" y2="51087"/>
                      </a14:backgroundRemoval>
                    </a14:imgEffect>
                  </a14:imgLayer>
                </a14:imgProps>
              </a:ext>
            </a:extLst>
          </a:blip>
          <a:stretch>
            <a:fillRect/>
          </a:stretch>
        </p:blipFill>
        <p:spPr>
          <a:xfrm>
            <a:off x="3775296" y="2791878"/>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57" b="89177" l="439" r="96053"/>
                    </a14:imgEffect>
                  </a14:imgLayer>
                </a14:imgProps>
              </a:ext>
            </a:extLst>
          </a:blip>
          <a:stretch>
            <a:fillRect/>
          </a:stretch>
        </p:blipFill>
        <p:spPr>
          <a:xfrm>
            <a:off x="6407983" y="2791878"/>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6045669" y="5109143"/>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dirty="0"/>
          </a:p>
        </p:txBody>
      </p:sp>
      <p:sp>
        <p:nvSpPr>
          <p:cNvPr id="36" name="TextBox 35">
            <a:extLst>
              <a:ext uri="{FF2B5EF4-FFF2-40B4-BE49-F238E27FC236}">
                <a16:creationId xmlns:a16="http://schemas.microsoft.com/office/drawing/2014/main" id="{DB351719-2A63-84D4-2BBD-48DA6D8FB123}"/>
              </a:ext>
            </a:extLst>
          </p:cNvPr>
          <p:cNvSpPr txBox="1"/>
          <p:nvPr/>
        </p:nvSpPr>
        <p:spPr>
          <a:xfrm>
            <a:off x="981509" y="5553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Trade Marketing</a:t>
            </a:r>
            <a:r>
              <a:rPr lang="en-US" sz="1500" b="0" i="0" dirty="0">
                <a:solidFill>
                  <a:srgbClr val="000000"/>
                </a:solidFill>
                <a:effectLst/>
                <a:latin typeface="+mj-lt"/>
              </a:rPr>
              <a:t> </a:t>
            </a:r>
            <a:endParaRPr lang="en-US" sz="1500" dirty="0">
              <a:latin typeface="+mj-lt"/>
            </a:endParaRPr>
          </a:p>
        </p:txBody>
      </p:sp>
      <p:sp>
        <p:nvSpPr>
          <p:cNvPr id="37" name="TextBox 36">
            <a:extLst>
              <a:ext uri="{FF2B5EF4-FFF2-40B4-BE49-F238E27FC236}">
                <a16:creationId xmlns:a16="http://schemas.microsoft.com/office/drawing/2014/main" id="{B4FB2C8D-1041-51AC-9197-8A1E6A46655E}"/>
              </a:ext>
            </a:extLst>
          </p:cNvPr>
          <p:cNvSpPr txBox="1"/>
          <p:nvPr/>
        </p:nvSpPr>
        <p:spPr>
          <a:xfrm>
            <a:off x="3706771" y="5553089"/>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Sale Operation</a:t>
            </a:r>
          </a:p>
        </p:txBody>
      </p:sp>
      <p:sp>
        <p:nvSpPr>
          <p:cNvPr id="38" name="TextBox 37">
            <a:extLst>
              <a:ext uri="{FF2B5EF4-FFF2-40B4-BE49-F238E27FC236}">
                <a16:creationId xmlns:a16="http://schemas.microsoft.com/office/drawing/2014/main" id="{822BF3C1-71E2-4508-E20B-711FF5BD3BD4}"/>
              </a:ext>
            </a:extLst>
          </p:cNvPr>
          <p:cNvSpPr txBox="1"/>
          <p:nvPr/>
        </p:nvSpPr>
        <p:spPr>
          <a:xfrm>
            <a:off x="6407983" y="5553088"/>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744" y="307970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7534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847376" y="5100145"/>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dirty="0"/>
          </a:p>
        </p:txBody>
      </p:sp>
      <p:sp>
        <p:nvSpPr>
          <p:cNvPr id="41" name="TextBox 40">
            <a:extLst>
              <a:ext uri="{FF2B5EF4-FFF2-40B4-BE49-F238E27FC236}">
                <a16:creationId xmlns:a16="http://schemas.microsoft.com/office/drawing/2014/main" id="{021C03E6-1B72-4F11-48D9-E8F525A33C73}"/>
              </a:ext>
            </a:extLst>
          </p:cNvPr>
          <p:cNvSpPr txBox="1"/>
          <p:nvPr/>
        </p:nvSpPr>
        <p:spPr>
          <a:xfrm>
            <a:off x="9209690" y="5544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spTree>
    <p:extLst>
      <p:ext uri="{BB962C8B-B14F-4D97-AF65-F5344CB8AC3E}">
        <p14:creationId xmlns:p14="http://schemas.microsoft.com/office/powerpoint/2010/main" val="41562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 </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37759" cy="300831"/>
          </a:xfrm>
        </p:spPr>
        <p:txBody>
          <a:bodyPr/>
          <a:lstStyle/>
          <a:p>
            <a:r>
              <a:rPr lang="en-US" sz="1200" spc="0" dirty="0">
                <a:solidFill>
                  <a:srgbClr val="000000"/>
                </a:solidFill>
                <a:cs typeface="Arial" panose="020B0604020202020204" pitchFamily="34" charset="0"/>
              </a:rPr>
              <a:t>Advance Analytic on the model to recommend the customer targeting effectively</a:t>
            </a:r>
            <a:endParaRPr lang="en-US" sz="1200" spc="0" dirty="0"/>
          </a:p>
        </p:txBody>
      </p:sp>
      <p:sp>
        <p:nvSpPr>
          <p:cNvPr id="6" name="Flowchart: Magnetic Disk 5">
            <a:extLst>
              <a:ext uri="{FF2B5EF4-FFF2-40B4-BE49-F238E27FC236}">
                <a16:creationId xmlns:a16="http://schemas.microsoft.com/office/drawing/2014/main" id="{1398CE7E-EB3D-301B-24B0-1C05716B952E}"/>
              </a:ext>
            </a:extLst>
          </p:cNvPr>
          <p:cNvSpPr/>
          <p:nvPr/>
        </p:nvSpPr>
        <p:spPr>
          <a:xfrm>
            <a:off x="456955" y="1552429"/>
            <a:ext cx="1623695" cy="1893728"/>
          </a:xfrm>
          <a:prstGeom prst="flowChartMagneticDisk">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Historical Customer, Trade Program Data</a:t>
            </a:r>
            <a:endParaRPr lang="en-US" sz="1400"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21FC4BF8-79D3-71C8-25B1-7B87EC978807}"/>
              </a:ext>
            </a:extLst>
          </p:cNvPr>
          <p:cNvSpPr/>
          <p:nvPr/>
        </p:nvSpPr>
        <p:spPr>
          <a:xfrm>
            <a:off x="4437087" y="2107475"/>
            <a:ext cx="2178685"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Trend-Estimation Algorithm</a:t>
            </a:r>
            <a:endParaRPr lang="en-US" sz="1400"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DB71C851-B854-D581-541A-E6B490509DE1}"/>
              </a:ext>
            </a:extLst>
          </p:cNvPr>
          <p:cNvSpPr/>
          <p:nvPr/>
        </p:nvSpPr>
        <p:spPr>
          <a:xfrm>
            <a:off x="8972209" y="2124577"/>
            <a:ext cx="2169160"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Adaptive-Greedy Algorithm</a:t>
            </a:r>
            <a:endParaRPr lang="en-US" sz="1400" dirty="0">
              <a:ea typeface="Calibri" panose="020F0502020204030204" pitchFamily="34" charset="0"/>
              <a:cs typeface="DaunPenh" panose="01010101010101010101" pitchFamily="2" charset="0"/>
            </a:endParaRPr>
          </a:p>
        </p:txBody>
      </p:sp>
      <p:sp>
        <p:nvSpPr>
          <p:cNvPr id="9" name="Oval 8">
            <a:extLst>
              <a:ext uri="{FF2B5EF4-FFF2-40B4-BE49-F238E27FC236}">
                <a16:creationId xmlns:a16="http://schemas.microsoft.com/office/drawing/2014/main" id="{39B662FB-B3DB-5EA1-8567-45C08466AD99}"/>
              </a:ext>
            </a:extLst>
          </p:cNvPr>
          <p:cNvSpPr/>
          <p:nvPr/>
        </p:nvSpPr>
        <p:spPr>
          <a:xfrm>
            <a:off x="4605762" y="4754586"/>
            <a:ext cx="2178685" cy="1011555"/>
          </a:xfrm>
          <a:prstGeom prst="ellipse">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Customer Targeting Recommendation</a:t>
            </a:r>
            <a:endParaRPr lang="en-US" sz="1400" dirty="0">
              <a:ea typeface="Calibri" panose="020F0502020204030204" pitchFamily="34" charset="0"/>
              <a:cs typeface="DaunPenh" panose="01010101010101010101" pitchFamily="2" charset="0"/>
            </a:endParaRPr>
          </a:p>
        </p:txBody>
      </p:sp>
      <p:sp>
        <p:nvSpPr>
          <p:cNvPr id="10" name="Arrow: Right 9">
            <a:extLst>
              <a:ext uri="{FF2B5EF4-FFF2-40B4-BE49-F238E27FC236}">
                <a16:creationId xmlns:a16="http://schemas.microsoft.com/office/drawing/2014/main" id="{16771129-442F-9D98-546B-9B44ECFE0DE5}"/>
              </a:ext>
            </a:extLst>
          </p:cNvPr>
          <p:cNvSpPr/>
          <p:nvPr/>
        </p:nvSpPr>
        <p:spPr>
          <a:xfrm>
            <a:off x="2428276" y="2389819"/>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 name="Text Box 21">
            <a:extLst>
              <a:ext uri="{FF2B5EF4-FFF2-40B4-BE49-F238E27FC236}">
                <a16:creationId xmlns:a16="http://schemas.microsoft.com/office/drawing/2014/main" id="{F5860FF2-12E6-018B-86C9-C89E30283220}"/>
              </a:ext>
            </a:extLst>
          </p:cNvPr>
          <p:cNvSpPr txBox="1"/>
          <p:nvPr/>
        </p:nvSpPr>
        <p:spPr>
          <a:xfrm>
            <a:off x="6963398" y="2845435"/>
            <a:ext cx="1487805"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dirty="0">
                <a:solidFill>
                  <a:srgbClr val="002060"/>
                </a:solidFill>
                <a:latin typeface="HEINEKEN Core" panose="02000503050000020004" pitchFamily="2" charset="0"/>
                <a:ea typeface="Calibri" panose="020F0502020204030204" pitchFamily="34" charset="0"/>
                <a:cs typeface="DaunPenh" panose="01010101010101010101" pitchFamily="2" charset="0"/>
              </a:rPr>
              <a:t>Customer Performance, </a:t>
            </a:r>
            <a:r>
              <a:rPr lang="en-US" sz="1000" dirty="0" err="1">
                <a:solidFill>
                  <a:srgbClr val="002060"/>
                </a:solidFill>
                <a:latin typeface="HEINEKEN Core" panose="02000503050000020004" pitchFamily="2" charset="0"/>
                <a:ea typeface="Calibri" panose="020F0502020204030204" pitchFamily="34" charset="0"/>
                <a:cs typeface="DaunPenh" panose="01010101010101010101" pitchFamily="2" charset="0"/>
              </a:rPr>
              <a:t>Segementation</a:t>
            </a:r>
            <a:endParaRPr lang="en-US" sz="1100" dirty="0">
              <a:latin typeface="Calibri" panose="020F0502020204030204" pitchFamily="34" charset="0"/>
              <a:ea typeface="Calibri" panose="020F0502020204030204" pitchFamily="34" charset="0"/>
              <a:cs typeface="DaunPenh" panose="01010101010101010101" pitchFamily="2" charset="0"/>
            </a:endParaRPr>
          </a:p>
        </p:txBody>
      </p:sp>
      <p:sp>
        <p:nvSpPr>
          <p:cNvPr id="18" name="Text Box 22">
            <a:extLst>
              <a:ext uri="{FF2B5EF4-FFF2-40B4-BE49-F238E27FC236}">
                <a16:creationId xmlns:a16="http://schemas.microsoft.com/office/drawing/2014/main" id="{F3A69B58-BAC1-47DB-1E83-799EAA15D2AF}"/>
              </a:ext>
            </a:extLst>
          </p:cNvPr>
          <p:cNvSpPr txBox="1"/>
          <p:nvPr/>
        </p:nvSpPr>
        <p:spPr>
          <a:xfrm>
            <a:off x="7104697" y="1737876"/>
            <a:ext cx="1127760"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a:solidFill>
                  <a:srgbClr val="002060"/>
                </a:solidFill>
                <a:latin typeface="HEINEKEN Core" panose="02000503050000020004" pitchFamily="2" charset="0"/>
                <a:ea typeface="Calibri" panose="020F0502020204030204" pitchFamily="34" charset="0"/>
                <a:cs typeface="DaunPenh" panose="01010101010101010101" pitchFamily="2" charset="0"/>
              </a:rPr>
              <a:t>Promotion Price &amp; Budget</a:t>
            </a:r>
            <a:endParaRPr lang="en-US" sz="1100">
              <a:latin typeface="Calibri" panose="020F0502020204030204" pitchFamily="34" charset="0"/>
              <a:ea typeface="Calibri" panose="020F0502020204030204" pitchFamily="34" charset="0"/>
              <a:cs typeface="DaunPenh" panose="01010101010101010101" pitchFamily="2" charset="0"/>
            </a:endParaRPr>
          </a:p>
        </p:txBody>
      </p:sp>
      <p:sp>
        <p:nvSpPr>
          <p:cNvPr id="19" name="Arrow: Right 18">
            <a:extLst>
              <a:ext uri="{FF2B5EF4-FFF2-40B4-BE49-F238E27FC236}">
                <a16:creationId xmlns:a16="http://schemas.microsoft.com/office/drawing/2014/main" id="{1EC0BF99-92C9-2DFC-9F76-05484E2C25B4}"/>
              </a:ext>
            </a:extLst>
          </p:cNvPr>
          <p:cNvSpPr/>
          <p:nvPr/>
        </p:nvSpPr>
        <p:spPr>
          <a:xfrm>
            <a:off x="6844843" y="2375317"/>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 name="Rectangle 23">
            <a:extLst>
              <a:ext uri="{FF2B5EF4-FFF2-40B4-BE49-F238E27FC236}">
                <a16:creationId xmlns:a16="http://schemas.microsoft.com/office/drawing/2014/main" id="{707922F5-E9DC-80AA-11E7-871F9A6275D6}"/>
              </a:ext>
            </a:extLst>
          </p:cNvPr>
          <p:cNvSpPr/>
          <p:nvPr/>
        </p:nvSpPr>
        <p:spPr>
          <a:xfrm>
            <a:off x="4184635" y="4545367"/>
            <a:ext cx="2947438" cy="14735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Bent 1">
            <a:extLst>
              <a:ext uri="{FF2B5EF4-FFF2-40B4-BE49-F238E27FC236}">
                <a16:creationId xmlns:a16="http://schemas.microsoft.com/office/drawing/2014/main" id="{4E02D894-AB2F-3752-2AD3-9104BAFA2F90}"/>
              </a:ext>
            </a:extLst>
          </p:cNvPr>
          <p:cNvSpPr/>
          <p:nvPr/>
        </p:nvSpPr>
        <p:spPr>
          <a:xfrm rot="10800000">
            <a:off x="8972209" y="3829184"/>
            <a:ext cx="1402671" cy="2044468"/>
          </a:xfrm>
          <a:prstGeom prst="bentArrow">
            <a:avLst>
              <a:gd name="adj1" fmla="val 25000"/>
              <a:gd name="adj2" fmla="val 25000"/>
              <a:gd name="adj3" fmla="val 25000"/>
              <a:gd name="adj4" fmla="val 43750"/>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23834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1609643"/>
            <a:ext cx="7117480" cy="3233291"/>
          </a:xfrm>
        </p:spPr>
        <p:txBody>
          <a:bodyPr anchor="b">
            <a:normAutofit/>
          </a:bodyPr>
          <a:lstStyle/>
          <a:p>
            <a:r>
              <a:rPr lang="en-US" dirty="0"/>
              <a:t>PROJECT ROADMAP </a:t>
            </a:r>
            <a:br>
              <a:rPr lang="en-US" dirty="0"/>
            </a:br>
            <a:r>
              <a:rPr lang="en-US" dirty="0"/>
              <a:t>&amp; PLANNING</a:t>
            </a:r>
            <a:endParaRPr lang="nl-NL" dirty="0"/>
          </a:p>
        </p:txBody>
      </p:sp>
      <p:pic>
        <p:nvPicPr>
          <p:cNvPr id="6" name="Picture 5">
            <a:extLst>
              <a:ext uri="{FF2B5EF4-FFF2-40B4-BE49-F238E27FC236}">
                <a16:creationId xmlns:a16="http://schemas.microsoft.com/office/drawing/2014/main" id="{06816A11-B553-7C7F-B5F0-CA96B1760D6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Tree>
    <p:extLst>
      <p:ext uri="{BB962C8B-B14F-4D97-AF65-F5344CB8AC3E}">
        <p14:creationId xmlns:p14="http://schemas.microsoft.com/office/powerpoint/2010/main" val="26275247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637" y="1604531"/>
            <a:ext cx="2857500" cy="1419225"/>
          </a:xfrm>
          <a:prstGeom prst="chevron">
            <a:avLst>
              <a:gd name="adj" fmla="val 18233"/>
            </a:avLst>
          </a:prstGeom>
          <a:solidFill>
            <a:schemeClr val="tx2"/>
          </a:solidFill>
          <a:ln w="9525" algn="ctr">
            <a:solidFill>
              <a:schemeClr val="bg2"/>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Data Team</a:t>
            </a:r>
            <a:br>
              <a:rPr lang="en-US" sz="1400" dirty="0">
                <a:solidFill>
                  <a:schemeClr val="bg2"/>
                </a:solidFill>
                <a:latin typeface="+mn-lt"/>
              </a:rPr>
            </a:br>
            <a:r>
              <a:rPr lang="en-US" sz="1400" dirty="0">
                <a:solidFill>
                  <a:schemeClr val="bg2"/>
                </a:solidFill>
                <a:latin typeface="+mn-lt"/>
              </a:rPr>
              <a:t>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41637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Data Warehousing (DM)</a:t>
            </a:r>
            <a:br>
              <a:rPr lang="en-US" altLang="en-US" sz="1200" dirty="0">
                <a:solidFill>
                  <a:schemeClr val="bg2"/>
                </a:solidFill>
                <a:effectLst/>
                <a:latin typeface="+mn-lt"/>
              </a:rPr>
            </a:br>
            <a:r>
              <a:rPr lang="en-US" altLang="en-US" sz="1200" dirty="0">
                <a:solidFill>
                  <a:schemeClr val="bg2"/>
                </a:solidFill>
                <a:effectLst/>
                <a:latin typeface="+mn-lt"/>
              </a:rPr>
              <a:t>Data Model (DM)</a:t>
            </a:r>
            <a:br>
              <a:rPr lang="en-US" altLang="en-US" sz="1200" dirty="0">
                <a:solidFill>
                  <a:schemeClr val="bg2"/>
                </a:solidFill>
                <a:effectLst/>
                <a:latin typeface="+mn-lt"/>
              </a:rPr>
            </a:br>
            <a:r>
              <a:rPr lang="en-US" altLang="en-US" sz="1200" dirty="0">
                <a:solidFill>
                  <a:schemeClr val="bg2"/>
                </a:solidFill>
                <a:effectLst/>
                <a:latin typeface="+mn-lt"/>
              </a:rPr>
              <a:t>Analytics Model (DA) </a:t>
            </a:r>
          </a:p>
          <a:p>
            <a:pPr marL="0" indent="0">
              <a:spcBef>
                <a:spcPct val="0"/>
              </a:spcBef>
              <a:spcAft>
                <a:spcPct val="0"/>
              </a:spcAft>
              <a:buNone/>
            </a:pPr>
            <a:endParaRPr lang="en-US" sz="1200" dirty="0">
              <a:solidFill>
                <a:schemeClr val="bg2"/>
              </a:solidFill>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661808" y="3023756"/>
            <a:ext cx="2598738"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Current scope: understand the current status first</a:t>
            </a:r>
            <a:endParaRPr lang="en-US" sz="1200" dirty="0">
              <a:solidFill>
                <a:schemeClr val="bg2"/>
              </a:solidFill>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3" y="1190203"/>
            <a:ext cx="5101910" cy="327550"/>
          </a:xfrm>
          <a:prstGeom prst="rect">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Current Process</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5775483" y="1191273"/>
            <a:ext cx="5900580" cy="326480"/>
          </a:xfrm>
          <a:prstGeom prst="homePlat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Next Process</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57219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Forward looking into what are the new fields (new info), how the fields are needed, what will be of use, how to leverage on them</a:t>
            </a:r>
            <a:endParaRPr lang="en-US" sz="1200" dirty="0">
              <a:solidFill>
                <a:schemeClr val="bg2"/>
              </a:solidFill>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72802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Think outside the box, thi</a:t>
            </a:r>
            <a:r>
              <a:rPr lang="en-US" altLang="en-US" sz="1200" dirty="0">
                <a:solidFill>
                  <a:schemeClr val="bg2"/>
                </a:solidFill>
                <a:latin typeface="+mn-lt"/>
              </a:rPr>
              <a:t>s is an exploratory study. What are the data we should further collect, maintain, how these data will be beneficial, what are the new insights it will bring</a:t>
            </a:r>
            <a:endParaRPr lang="en-US" sz="1200" dirty="0">
              <a:solidFill>
                <a:schemeClr val="bg2"/>
              </a:solidFill>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26054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Post the ideal scenarios, what should be th</a:t>
            </a:r>
            <a:r>
              <a:rPr lang="en-US" altLang="en-US" sz="1200" dirty="0">
                <a:solidFill>
                  <a:schemeClr val="bg2"/>
                </a:solidFill>
                <a:latin typeface="+mn-lt"/>
              </a:rPr>
              <a:t>e best way in optimizing the program</a:t>
            </a:r>
            <a:endParaRPr lang="en-US" sz="1200" dirty="0">
              <a:solidFill>
                <a:schemeClr val="bg2"/>
              </a:solidFill>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265282" y="4181383"/>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1</a:t>
            </a:r>
          </a:p>
        </p:txBody>
      </p:sp>
      <p:sp>
        <p:nvSpPr>
          <p:cNvPr id="237" name="Oval 236">
            <a:extLst>
              <a:ext uri="{FF2B5EF4-FFF2-40B4-BE49-F238E27FC236}">
                <a16:creationId xmlns:a16="http://schemas.microsoft.com/office/drawing/2014/main" id="{72D5FF38-976A-406A-81B1-BBF8507848E7}"/>
              </a:ext>
            </a:extLst>
          </p:cNvPr>
          <p:cNvSpPr/>
          <p:nvPr/>
        </p:nvSpPr>
        <p:spPr bwMode="gray">
          <a:xfrm>
            <a:off x="2864019"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2</a:t>
            </a:r>
          </a:p>
        </p:txBody>
      </p:sp>
      <p:sp>
        <p:nvSpPr>
          <p:cNvPr id="238" name="Oval 237">
            <a:extLst>
              <a:ext uri="{FF2B5EF4-FFF2-40B4-BE49-F238E27FC236}">
                <a16:creationId xmlns:a16="http://schemas.microsoft.com/office/drawing/2014/main" id="{2687BC96-19F4-48BF-BEFA-E7B589A3C067}"/>
              </a:ext>
            </a:extLst>
          </p:cNvPr>
          <p:cNvSpPr/>
          <p:nvPr/>
        </p:nvSpPr>
        <p:spPr bwMode="gray">
          <a:xfrm>
            <a:off x="5020493" y="4093945"/>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3</a:t>
            </a:r>
          </a:p>
        </p:txBody>
      </p:sp>
      <p:sp>
        <p:nvSpPr>
          <p:cNvPr id="239" name="Oval 238">
            <a:extLst>
              <a:ext uri="{FF2B5EF4-FFF2-40B4-BE49-F238E27FC236}">
                <a16:creationId xmlns:a16="http://schemas.microsoft.com/office/drawing/2014/main" id="{59410BE0-DABB-4CF0-BCC7-40D5C2EBA034}"/>
              </a:ext>
            </a:extLst>
          </p:cNvPr>
          <p:cNvSpPr/>
          <p:nvPr/>
        </p:nvSpPr>
        <p:spPr bwMode="gray">
          <a:xfrm>
            <a:off x="7168092"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4</a:t>
            </a:r>
          </a:p>
        </p:txBody>
      </p:sp>
      <p:cxnSp>
        <p:nvCxnSpPr>
          <p:cNvPr id="241" name="Straight Connector 240">
            <a:extLst>
              <a:ext uri="{FF2B5EF4-FFF2-40B4-BE49-F238E27FC236}">
                <a16:creationId xmlns:a16="http://schemas.microsoft.com/office/drawing/2014/main" id="{1C233873-5E51-4FDE-AE18-0D4B7D6B7700}"/>
              </a:ext>
            </a:extLst>
          </p:cNvPr>
          <p:cNvCxnSpPr>
            <a:cxnSpLocks/>
          </p:cNvCxnSpPr>
          <p:nvPr/>
        </p:nvCxnSpPr>
        <p:spPr bwMode="gray">
          <a:xfrm>
            <a:off x="528423" y="3023756"/>
            <a:ext cx="0" cy="1157627"/>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a:cxnSpLocks/>
          </p:cNvCxnSpPr>
          <p:nvPr/>
        </p:nvCxnSpPr>
        <p:spPr bwMode="gray">
          <a:xfrm>
            <a:off x="3130865" y="3023755"/>
            <a:ext cx="9841" cy="1077728"/>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a:cxnSpLocks/>
          </p:cNvCxnSpPr>
          <p:nvPr/>
        </p:nvCxnSpPr>
        <p:spPr bwMode="gray">
          <a:xfrm>
            <a:off x="5289865" y="3023754"/>
            <a:ext cx="0"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a:cxnSpLocks/>
          </p:cNvCxnSpPr>
          <p:nvPr/>
        </p:nvCxnSpPr>
        <p:spPr bwMode="gray">
          <a:xfrm>
            <a:off x="7439025" y="3023754"/>
            <a:ext cx="6664"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PROJECT ROADMAP</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17" name="Picture 16">
            <a:extLst>
              <a:ext uri="{FF2B5EF4-FFF2-40B4-BE49-F238E27FC236}">
                <a16:creationId xmlns:a16="http://schemas.microsoft.com/office/drawing/2014/main" id="{5666DCE4-2EFC-8EB4-F166-478C2D970BE2}"/>
              </a:ext>
            </a:extLst>
          </p:cNvPr>
          <p:cNvPicPr>
            <a:picLocks noChangeAspect="1"/>
          </p:cNvPicPr>
          <p:nvPr/>
        </p:nvPicPr>
        <p:blipFill>
          <a:blip r:embed="rId16"/>
          <a:stretch>
            <a:fillRect/>
          </a:stretch>
        </p:blipFill>
        <p:spPr>
          <a:xfrm>
            <a:off x="5562359" y="4768332"/>
            <a:ext cx="6042338" cy="1971711"/>
          </a:xfrm>
          <a:prstGeom prst="rect">
            <a:avLst/>
          </a:prstGeom>
        </p:spPr>
      </p:pic>
      <p:sp>
        <p:nvSpPr>
          <p:cNvPr id="18" name="Titel 3">
            <a:extLst>
              <a:ext uri="{FF2B5EF4-FFF2-40B4-BE49-F238E27FC236}">
                <a16:creationId xmlns:a16="http://schemas.microsoft.com/office/drawing/2014/main" id="{9ECBF4F5-2DD6-D69C-7BE9-EEBAEB1985FE}"/>
              </a:ext>
            </a:extLst>
          </p:cNvPr>
          <p:cNvSpPr txBox="1">
            <a:spLocks/>
          </p:cNvSpPr>
          <p:nvPr/>
        </p:nvSpPr>
        <p:spPr>
          <a:xfrm>
            <a:off x="371816" y="4812028"/>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sz="2400" dirty="0"/>
              <a:t>PROJECT PLANNING</a:t>
            </a:r>
          </a:p>
        </p:txBody>
      </p:sp>
      <p:sp>
        <p:nvSpPr>
          <p:cNvPr id="19" name="Text Placeholder 12">
            <a:extLst>
              <a:ext uri="{FF2B5EF4-FFF2-40B4-BE49-F238E27FC236}">
                <a16:creationId xmlns:a16="http://schemas.microsoft.com/office/drawing/2014/main" id="{648CED10-7171-0D0A-8DFB-9505654866DF}"/>
              </a:ext>
            </a:extLst>
          </p:cNvPr>
          <p:cNvSpPr txBox="1">
            <a:spLocks/>
          </p:cNvSpPr>
          <p:nvPr/>
        </p:nvSpPr>
        <p:spPr>
          <a:xfrm>
            <a:off x="386613" y="5187475"/>
            <a:ext cx="3865794" cy="1133426"/>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e project has 4 months in duration. That’s starting from 15 January 2023 to 15 May 2023. This table below illustrate the project planning and listing the tasks from A to Z.</a:t>
            </a:r>
            <a:endParaRPr lang="en-US" sz="1200" dirty="0">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Tree>
    <p:extLst>
      <p:ext uri="{BB962C8B-B14F-4D97-AF65-F5344CB8AC3E}">
        <p14:creationId xmlns:p14="http://schemas.microsoft.com/office/powerpoint/2010/main" val="380592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a:xfrm>
            <a:off x="5442012" y="911108"/>
            <a:ext cx="5147297" cy="4161341"/>
          </a:xfrm>
        </p:spPr>
        <p:txBody>
          <a:bodyPr/>
          <a:lstStyle/>
          <a:p>
            <a:r>
              <a:rPr lang="de-DE" sz="5000" spc="600" dirty="0"/>
              <a:t>DATA COLLECTION</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14</a:t>
            </a:fld>
            <a:endParaRPr lang="de-DE"/>
          </a:p>
        </p:txBody>
      </p:sp>
    </p:spTree>
    <p:extLst>
      <p:ext uri="{BB962C8B-B14F-4D97-AF65-F5344CB8AC3E}">
        <p14:creationId xmlns:p14="http://schemas.microsoft.com/office/powerpoint/2010/main" val="116412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11219" y="3144879"/>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028846" y="4084005"/>
            <a:ext cx="808234" cy="523220"/>
          </a:xfrm>
          <a:prstGeom prst="rect">
            <a:avLst/>
          </a:prstGeom>
          <a:noFill/>
        </p:spPr>
        <p:txBody>
          <a:bodyPr wrap="none" rtlCol="0">
            <a:spAutoFit/>
          </a:bodyPr>
          <a:lstStyle/>
          <a:p>
            <a:r>
              <a:rPr lang="en-US" sz="1400" dirty="0"/>
              <a:t>Staging </a:t>
            </a:r>
          </a:p>
          <a:p>
            <a:r>
              <a:rPr lang="en-US" sz="1400"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610505" y="1888886"/>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516754" y="349109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01506" y="4544260"/>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023554" y="5483386"/>
            <a:ext cx="780983" cy="523220"/>
          </a:xfrm>
          <a:prstGeom prst="rect">
            <a:avLst/>
          </a:prstGeom>
          <a:noFill/>
        </p:spPr>
        <p:txBody>
          <a:bodyPr wrap="none" lIns="91440" tIns="45720" rIns="91440" bIns="45720" rtlCol="0" anchor="t">
            <a:spAutoFit/>
          </a:bodyPr>
          <a:lstStyle>
            <a:defPPr>
              <a:defRPr lang="en-US"/>
            </a:defPPr>
            <a:lvl1pPr>
              <a:defRPr sz="1600"/>
            </a:lvl1pPr>
          </a:lstStyle>
          <a:p>
            <a:r>
              <a:rPr lang="en-US" sz="1400" dirty="0"/>
              <a:t>Staging</a:t>
            </a:r>
          </a:p>
          <a:p>
            <a:r>
              <a:rPr lang="en-US" sz="1400" dirty="0"/>
              <a:t>Archive</a:t>
            </a:r>
            <a:r>
              <a:rPr lang="en-US" sz="1400" dirty="0">
                <a:ea typeface="+mn-lt"/>
                <a:cs typeface="+mn-lt"/>
              </a:rPr>
              <a:t> </a:t>
            </a:r>
            <a:endParaRPr lang="en-US" sz="1400" dirty="0"/>
          </a:p>
        </p:txBody>
      </p:sp>
      <p:sp>
        <p:nvSpPr>
          <p:cNvPr id="62" name="Rectangle 61">
            <a:extLst>
              <a:ext uri="{FF2B5EF4-FFF2-40B4-BE49-F238E27FC236}">
                <a16:creationId xmlns:a16="http://schemas.microsoft.com/office/drawing/2014/main" id="{C0830C9B-A823-8465-965B-8FED1C8F4DC6}"/>
              </a:ext>
            </a:extLst>
          </p:cNvPr>
          <p:cNvSpPr/>
          <p:nvPr/>
        </p:nvSpPr>
        <p:spPr>
          <a:xfrm>
            <a:off x="614992" y="1133049"/>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5529" y="1888886"/>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123897" y="2669862"/>
            <a:ext cx="567783" cy="523220"/>
          </a:xfrm>
          <a:prstGeom prst="rect">
            <a:avLst/>
          </a:prstGeom>
          <a:noFill/>
        </p:spPr>
        <p:txBody>
          <a:bodyPr wrap="none" rtlCol="0">
            <a:spAutoFit/>
          </a:bodyPr>
          <a:lstStyle/>
          <a:p>
            <a:r>
              <a:rPr lang="en-US" sz="1400" dirty="0"/>
              <a:t>SSIS </a:t>
            </a:r>
          </a:p>
          <a:p>
            <a:r>
              <a:rPr lang="en-US" sz="1400"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4660247" y="170164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4660248" y="114232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1783861"/>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7736140" y="2720529"/>
            <a:ext cx="1160895" cy="307777"/>
          </a:xfrm>
          <a:prstGeom prst="rect">
            <a:avLst/>
          </a:prstGeom>
          <a:noFill/>
        </p:spPr>
        <p:txBody>
          <a:bodyPr wrap="none" rtlCol="0">
            <a:spAutoFit/>
          </a:bodyPr>
          <a:lstStyle/>
          <a:p>
            <a:r>
              <a:rPr lang="en-US" sz="1400" dirty="0"/>
              <a:t>DWH_HCAM</a:t>
            </a:r>
          </a:p>
        </p:txBody>
      </p:sp>
      <p:sp>
        <p:nvSpPr>
          <p:cNvPr id="65" name="Arrow: Right 64">
            <a:extLst>
              <a:ext uri="{FF2B5EF4-FFF2-40B4-BE49-F238E27FC236}">
                <a16:creationId xmlns:a16="http://schemas.microsoft.com/office/drawing/2014/main" id="{1C305A3B-4605-7164-8B86-D9AF44264621}"/>
              </a:ext>
            </a:extLst>
          </p:cNvPr>
          <p:cNvSpPr/>
          <p:nvPr/>
        </p:nvSpPr>
        <p:spPr>
          <a:xfrm>
            <a:off x="6384855" y="348936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3180784"/>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7536884" y="4119910"/>
            <a:ext cx="1521571"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7528348" y="169991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7528349" y="114059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910652" y="4560570"/>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8091399" y="5499696"/>
            <a:ext cx="463589"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DIS</a:t>
            </a:r>
          </a:p>
        </p:txBody>
      </p:sp>
    </p:spTree>
    <p:extLst>
      <p:ext uri="{BB962C8B-B14F-4D97-AF65-F5344CB8AC3E}">
        <p14:creationId xmlns:p14="http://schemas.microsoft.com/office/powerpoint/2010/main" val="288424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2275" y="3230880"/>
            <a:ext cx="805641" cy="928992"/>
          </a:xfrm>
          <a:prstGeom prst="rect">
            <a:avLst/>
          </a:prstGeom>
        </p:spPr>
      </p:pic>
      <p:pic>
        <p:nvPicPr>
          <p:cNvPr id="10" name="Picture 9">
            <a:extLst>
              <a:ext uri="{FF2B5EF4-FFF2-40B4-BE49-F238E27FC236}">
                <a16:creationId xmlns:a16="http://schemas.microsoft.com/office/drawing/2014/main" id="{566BCB2F-7880-F135-B2C9-1976FF607D8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319536" y="5408438"/>
            <a:ext cx="873540" cy="943114"/>
          </a:xfrm>
          <a:prstGeom prst="rect">
            <a:avLst/>
          </a:prstGeom>
        </p:spPr>
      </p:pic>
      <p:pic>
        <p:nvPicPr>
          <p:cNvPr id="11" name="Picture 10">
            <a:extLst>
              <a:ext uri="{FF2B5EF4-FFF2-40B4-BE49-F238E27FC236}">
                <a16:creationId xmlns:a16="http://schemas.microsoft.com/office/drawing/2014/main" id="{18ACC618-B595-D285-55D8-47EC607EFE8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56830" y="2399168"/>
            <a:ext cx="1118942" cy="1009893"/>
          </a:xfrm>
          <a:prstGeom prst="rect">
            <a:avLst/>
          </a:prstGeom>
        </p:spPr>
      </p:pic>
      <p:pic>
        <p:nvPicPr>
          <p:cNvPr id="12" name="Picture 11">
            <a:extLst>
              <a:ext uri="{FF2B5EF4-FFF2-40B4-BE49-F238E27FC236}">
                <a16:creationId xmlns:a16="http://schemas.microsoft.com/office/drawing/2014/main" id="{9733FDD4-BF56-9565-AE91-5FF520C5116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352021" y="3230880"/>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4327453" y="4170006"/>
            <a:ext cx="1373133" cy="338554"/>
          </a:xfrm>
          <a:prstGeom prst="rect">
            <a:avLst/>
          </a:prstGeom>
          <a:noFill/>
        </p:spPr>
        <p:txBody>
          <a:bodyPr wrap="none" rtlCol="0">
            <a:spAutoFit/>
          </a:bodyPr>
          <a:lstStyle/>
          <a:p>
            <a:r>
              <a:rPr lang="en-US" sz="1600" dirty="0"/>
              <a:t>Staging Server</a:t>
            </a:r>
          </a:p>
        </p:txBody>
      </p:sp>
      <p:sp>
        <p:nvSpPr>
          <p:cNvPr id="15" name="TextBox 14">
            <a:extLst>
              <a:ext uri="{FF2B5EF4-FFF2-40B4-BE49-F238E27FC236}">
                <a16:creationId xmlns:a16="http://schemas.microsoft.com/office/drawing/2014/main" id="{41129864-9CF4-7EB1-A53B-A35EC781DEEA}"/>
              </a:ext>
            </a:extLst>
          </p:cNvPr>
          <p:cNvSpPr txBox="1"/>
          <p:nvPr/>
        </p:nvSpPr>
        <p:spPr>
          <a:xfrm>
            <a:off x="6182205" y="4170006"/>
            <a:ext cx="1204304" cy="338554"/>
          </a:xfrm>
          <a:prstGeom prst="rect">
            <a:avLst/>
          </a:prstGeom>
          <a:noFill/>
        </p:spPr>
        <p:txBody>
          <a:bodyPr wrap="none" rtlCol="0">
            <a:spAutoFit/>
          </a:bodyPr>
          <a:lstStyle>
            <a:defPPr>
              <a:defRPr lang="en-US"/>
            </a:defPPr>
            <a:lvl1pPr>
              <a:defRPr sz="1600"/>
            </a:lvl1pPr>
          </a:lstStyle>
          <a:p>
            <a:r>
              <a:rPr lang="en-US" dirty="0"/>
              <a:t>DWH Server</a:t>
            </a:r>
          </a:p>
        </p:txBody>
      </p:sp>
      <p:sp>
        <p:nvSpPr>
          <p:cNvPr id="16" name="TextBox 15">
            <a:extLst>
              <a:ext uri="{FF2B5EF4-FFF2-40B4-BE49-F238E27FC236}">
                <a16:creationId xmlns:a16="http://schemas.microsoft.com/office/drawing/2014/main" id="{52C67846-7462-E58F-88AA-344E6D07245E}"/>
              </a:ext>
            </a:extLst>
          </p:cNvPr>
          <p:cNvSpPr txBox="1"/>
          <p:nvPr/>
        </p:nvSpPr>
        <p:spPr>
          <a:xfrm>
            <a:off x="6149977" y="6374957"/>
            <a:ext cx="1140057" cy="338554"/>
          </a:xfrm>
          <a:prstGeom prst="rect">
            <a:avLst/>
          </a:prstGeom>
          <a:noFill/>
        </p:spPr>
        <p:txBody>
          <a:bodyPr wrap="none" rtlCol="0">
            <a:spAutoFit/>
          </a:bodyPr>
          <a:lstStyle/>
          <a:p>
            <a:r>
              <a:rPr lang="en-US" sz="1600" dirty="0"/>
              <a:t>OLAP Cube</a:t>
            </a:r>
          </a:p>
        </p:txBody>
      </p:sp>
      <p:sp>
        <p:nvSpPr>
          <p:cNvPr id="20" name="TextBox 19">
            <a:extLst>
              <a:ext uri="{FF2B5EF4-FFF2-40B4-BE49-F238E27FC236}">
                <a16:creationId xmlns:a16="http://schemas.microsoft.com/office/drawing/2014/main" id="{0D337DB3-1ACE-DFC8-D885-F85C7131123A}"/>
              </a:ext>
            </a:extLst>
          </p:cNvPr>
          <p:cNvSpPr txBox="1"/>
          <p:nvPr/>
        </p:nvSpPr>
        <p:spPr>
          <a:xfrm>
            <a:off x="8486147" y="3421574"/>
            <a:ext cx="924933" cy="338554"/>
          </a:xfrm>
          <a:prstGeom prst="rect">
            <a:avLst/>
          </a:prstGeom>
          <a:noFill/>
        </p:spPr>
        <p:txBody>
          <a:bodyPr wrap="none" rtlCol="0">
            <a:spAutoFit/>
          </a:bodyPr>
          <a:lstStyle/>
          <a:p>
            <a:r>
              <a:rPr lang="en-US" sz="1600" dirty="0"/>
              <a:t>Power BI</a:t>
            </a:r>
          </a:p>
        </p:txBody>
      </p:sp>
      <p:pic>
        <p:nvPicPr>
          <p:cNvPr id="21" name="Picture 20">
            <a:extLst>
              <a:ext uri="{FF2B5EF4-FFF2-40B4-BE49-F238E27FC236}">
                <a16:creationId xmlns:a16="http://schemas.microsoft.com/office/drawing/2014/main" id="{9EF69883-CECC-2402-6B22-B9E02B80B62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24412" y="1200003"/>
            <a:ext cx="1060855" cy="1158507"/>
          </a:xfrm>
          <a:prstGeom prst="rect">
            <a:avLst/>
          </a:prstGeom>
        </p:spPr>
      </p:pic>
      <p:pic>
        <p:nvPicPr>
          <p:cNvPr id="22" name="Picture 21">
            <a:extLst>
              <a:ext uri="{FF2B5EF4-FFF2-40B4-BE49-F238E27FC236}">
                <a16:creationId xmlns:a16="http://schemas.microsoft.com/office/drawing/2014/main" id="{87C47F9E-B094-197A-A570-BBFB350B799D}"/>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465066" y="4044064"/>
            <a:ext cx="928992" cy="928992"/>
          </a:xfrm>
          <a:prstGeom prst="rect">
            <a:avLst/>
          </a:prstGeom>
        </p:spPr>
      </p:pic>
      <p:sp>
        <p:nvSpPr>
          <p:cNvPr id="23" name="TextBox 22">
            <a:extLst>
              <a:ext uri="{FF2B5EF4-FFF2-40B4-BE49-F238E27FC236}">
                <a16:creationId xmlns:a16="http://schemas.microsoft.com/office/drawing/2014/main" id="{C6E405F3-4CCE-3610-DDF1-75C4780A90AA}"/>
              </a:ext>
            </a:extLst>
          </p:cNvPr>
          <p:cNvSpPr txBox="1"/>
          <p:nvPr/>
        </p:nvSpPr>
        <p:spPr>
          <a:xfrm>
            <a:off x="8646190" y="4925618"/>
            <a:ext cx="604846" cy="338554"/>
          </a:xfrm>
          <a:prstGeom prst="rect">
            <a:avLst/>
          </a:prstGeom>
          <a:noFill/>
        </p:spPr>
        <p:txBody>
          <a:bodyPr wrap="none" rtlCol="0">
            <a:spAutoFit/>
          </a:bodyPr>
          <a:lstStyle/>
          <a:p>
            <a:r>
              <a:rPr lang="en-US" sz="1600" dirty="0"/>
              <a:t>Excel</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814691" y="1811140"/>
            <a:ext cx="2756200" cy="4108663"/>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338554"/>
            </a:xfrm>
            <a:prstGeom prst="rect">
              <a:avLst/>
            </a:prstGeom>
            <a:noFill/>
          </p:spPr>
          <p:txBody>
            <a:bodyPr wrap="square" rtlCol="0">
              <a:spAutoFit/>
            </a:bodyPr>
            <a:lstStyle/>
            <a:p>
              <a:r>
                <a:rPr lang="en-US" sz="16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338554"/>
            </a:xfrm>
            <a:prstGeom prst="rect">
              <a:avLst/>
            </a:prstGeom>
            <a:noFill/>
          </p:spPr>
          <p:txBody>
            <a:bodyPr wrap="square" rtlCol="0">
              <a:spAutoFit/>
            </a:bodyPr>
            <a:lstStyle/>
            <a:p>
              <a:r>
                <a:rPr lang="en-US" sz="16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338554"/>
            </a:xfrm>
            <a:prstGeom prst="rect">
              <a:avLst/>
            </a:prstGeom>
            <a:noFill/>
          </p:spPr>
          <p:txBody>
            <a:bodyPr wrap="square" rtlCol="0">
              <a:spAutoFit/>
            </a:bodyPr>
            <a:lstStyle/>
            <a:p>
              <a:pPr algn="ctr"/>
              <a:r>
                <a:rPr lang="en-US" sz="16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338554"/>
            </a:xfrm>
            <a:prstGeom prst="rect">
              <a:avLst/>
            </a:prstGeom>
            <a:noFill/>
          </p:spPr>
          <p:txBody>
            <a:bodyPr wrap="square" rtlCol="0">
              <a:spAutoFit/>
            </a:bodyPr>
            <a:lstStyle/>
            <a:p>
              <a:r>
                <a:rPr lang="en-US" sz="16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338554"/>
            </a:xfrm>
            <a:prstGeom prst="rect">
              <a:avLst/>
            </a:prstGeom>
            <a:noFill/>
          </p:spPr>
          <p:txBody>
            <a:bodyPr wrap="square" rtlCol="0">
              <a:spAutoFit/>
            </a:bodyPr>
            <a:lstStyle/>
            <a:p>
              <a:r>
                <a:rPr lang="en-US" sz="16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Arrow: Right 35">
            <a:extLst>
              <a:ext uri="{FF2B5EF4-FFF2-40B4-BE49-F238E27FC236}">
                <a16:creationId xmlns:a16="http://schemas.microsoft.com/office/drawing/2014/main" id="{AD15B592-02EE-9EA2-9CE0-667922F19B55}"/>
              </a:ext>
            </a:extLst>
          </p:cNvPr>
          <p:cNvSpPr/>
          <p:nvPr/>
        </p:nvSpPr>
        <p:spPr>
          <a:xfrm>
            <a:off x="3820238" y="3751497"/>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5611346" y="3738195"/>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Right 37">
            <a:extLst>
              <a:ext uri="{FF2B5EF4-FFF2-40B4-BE49-F238E27FC236}">
                <a16:creationId xmlns:a16="http://schemas.microsoft.com/office/drawing/2014/main" id="{D8DCF604-7FF8-22C0-5534-CD5E1FD40ECA}"/>
              </a:ext>
            </a:extLst>
          </p:cNvPr>
          <p:cNvSpPr/>
          <p:nvPr/>
        </p:nvSpPr>
        <p:spPr>
          <a:xfrm rot="5400000">
            <a:off x="6475537" y="4857090"/>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7AC2E41B-CC29-476A-483F-886CFD120AB9}"/>
              </a:ext>
            </a:extLst>
          </p:cNvPr>
          <p:cNvSpPr/>
          <p:nvPr/>
        </p:nvSpPr>
        <p:spPr>
          <a:xfrm rot="16200000">
            <a:off x="6475538" y="26799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98991FCE-026B-2B71-221D-DEFA0645640C}"/>
              </a:ext>
            </a:extLst>
          </p:cNvPr>
          <p:cNvSpPr/>
          <p:nvPr/>
        </p:nvSpPr>
        <p:spPr>
          <a:xfrm>
            <a:off x="7405108" y="373819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Users with solid fill">
            <a:extLst>
              <a:ext uri="{FF2B5EF4-FFF2-40B4-BE49-F238E27FC236}">
                <a16:creationId xmlns:a16="http://schemas.microsoft.com/office/drawing/2014/main" id="{89E0C420-8ED6-54FF-AC27-41549CD703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12056" y="3339228"/>
            <a:ext cx="914400" cy="914400"/>
          </a:xfrm>
          <a:prstGeom prst="rect">
            <a:avLst/>
          </a:prstGeom>
        </p:spPr>
      </p:pic>
      <p:sp>
        <p:nvSpPr>
          <p:cNvPr id="42" name="Arrow: Right 41">
            <a:extLst>
              <a:ext uri="{FF2B5EF4-FFF2-40B4-BE49-F238E27FC236}">
                <a16:creationId xmlns:a16="http://schemas.microsoft.com/office/drawing/2014/main" id="{595924B4-3591-8896-54A3-99A808966F83}"/>
              </a:ext>
            </a:extLst>
          </p:cNvPr>
          <p:cNvSpPr/>
          <p:nvPr/>
        </p:nvSpPr>
        <p:spPr>
          <a:xfrm>
            <a:off x="9766877" y="3738738"/>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Bent-Up 43">
            <a:extLst>
              <a:ext uri="{FF2B5EF4-FFF2-40B4-BE49-F238E27FC236}">
                <a16:creationId xmlns:a16="http://schemas.microsoft.com/office/drawing/2014/main" id="{81C17459-A04E-21FE-EB37-79E7005C29FA}"/>
              </a:ext>
            </a:extLst>
          </p:cNvPr>
          <p:cNvSpPr/>
          <p:nvPr/>
        </p:nvSpPr>
        <p:spPr>
          <a:xfrm flipV="1">
            <a:off x="7520522" y="157417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Bent-Up 44">
            <a:extLst>
              <a:ext uri="{FF2B5EF4-FFF2-40B4-BE49-F238E27FC236}">
                <a16:creationId xmlns:a16="http://schemas.microsoft.com/office/drawing/2014/main" id="{8140E231-1EDA-9578-6C88-AE7E8444A4A6}"/>
              </a:ext>
            </a:extLst>
          </p:cNvPr>
          <p:cNvSpPr/>
          <p:nvPr/>
        </p:nvSpPr>
        <p:spPr>
          <a:xfrm>
            <a:off x="7520522" y="548834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15D5F002-3449-51D4-6FF4-6BB8D3036D45}"/>
              </a:ext>
            </a:extLst>
          </p:cNvPr>
          <p:cNvSpPr/>
          <p:nvPr/>
        </p:nvSpPr>
        <p:spPr>
          <a:xfrm>
            <a:off x="8170798" y="2277557"/>
            <a:ext cx="1555630" cy="3098703"/>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CDA847C3-DF80-8A48-E446-E7521DA59513}"/>
              </a:ext>
            </a:extLst>
          </p:cNvPr>
          <p:cNvSpPr txBox="1"/>
          <p:nvPr/>
        </p:nvSpPr>
        <p:spPr>
          <a:xfrm>
            <a:off x="10683761" y="4111627"/>
            <a:ext cx="647613" cy="338554"/>
          </a:xfrm>
          <a:prstGeom prst="rect">
            <a:avLst/>
          </a:prstGeom>
          <a:noFill/>
        </p:spPr>
        <p:txBody>
          <a:bodyPr wrap="none" rtlCol="0">
            <a:spAutoFit/>
          </a:bodyPr>
          <a:lstStyle/>
          <a:p>
            <a:r>
              <a:rPr lang="en-US" sz="1600"/>
              <a:t>Users</a:t>
            </a:r>
          </a:p>
        </p:txBody>
      </p:sp>
      <p:sp>
        <p:nvSpPr>
          <p:cNvPr id="48" name="Rectangle: Rounded Corners 47">
            <a:extLst>
              <a:ext uri="{FF2B5EF4-FFF2-40B4-BE49-F238E27FC236}">
                <a16:creationId xmlns:a16="http://schemas.microsoft.com/office/drawing/2014/main" id="{458E4B34-9CE1-0019-64BD-BD9275F86EE8}"/>
              </a:ext>
            </a:extLst>
          </p:cNvPr>
          <p:cNvSpPr/>
          <p:nvPr/>
        </p:nvSpPr>
        <p:spPr>
          <a:xfrm>
            <a:off x="3746285" y="1732157"/>
            <a:ext cx="2397856" cy="86107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TL Tool (Optional)</a:t>
            </a:r>
          </a:p>
          <a:p>
            <a:pPr algn="ctr"/>
            <a:r>
              <a:rPr lang="en-US" sz="1200" dirty="0">
                <a:solidFill>
                  <a:schemeClr val="tx1"/>
                </a:solidFill>
              </a:rPr>
              <a:t>SSIS or Azure Factory</a:t>
            </a:r>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48" idx="2"/>
          </p:cNvCxnSpPr>
          <p:nvPr/>
        </p:nvCxnSpPr>
        <p:spPr>
          <a:xfrm rot="5400000" flipH="1" flipV="1">
            <a:off x="4024500" y="2830785"/>
            <a:ext cx="1158261" cy="683165"/>
          </a:xfrm>
          <a:prstGeom prst="bentConnector3">
            <a:avLst>
              <a:gd name="adj1" fmla="val 5000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0514" y="5417918"/>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4222776" y="6357044"/>
            <a:ext cx="1560555" cy="338554"/>
          </a:xfrm>
          <a:prstGeom prst="rect">
            <a:avLst/>
          </a:prstGeom>
          <a:noFill/>
        </p:spPr>
        <p:txBody>
          <a:bodyPr wrap="none" lIns="91440" tIns="45720" rIns="91440" bIns="45720" rtlCol="0" anchor="t">
            <a:spAutoFit/>
          </a:bodyPr>
          <a:lstStyle>
            <a:defPPr>
              <a:defRPr lang="en-US"/>
            </a:defPPr>
            <a:lvl1pPr>
              <a:defRPr sz="1600"/>
            </a:lvl1pPr>
          </a:lstStyle>
          <a:p>
            <a:r>
              <a:rPr lang="en-US" dirty="0" err="1"/>
              <a:t>Staging_Archive</a:t>
            </a:r>
            <a:r>
              <a:rPr lang="en-US" dirty="0">
                <a:ea typeface="+mn-lt"/>
                <a:cs typeface="+mn-lt"/>
              </a:rPr>
              <a:t> </a:t>
            </a:r>
            <a:endParaRPr lang="en-US" dirty="0"/>
          </a:p>
        </p:txBody>
      </p:sp>
      <p:sp>
        <p:nvSpPr>
          <p:cNvPr id="52" name="Arrow: Right 51">
            <a:extLst>
              <a:ext uri="{FF2B5EF4-FFF2-40B4-BE49-F238E27FC236}">
                <a16:creationId xmlns:a16="http://schemas.microsoft.com/office/drawing/2014/main" id="{04F7D391-EDD6-CBB2-C5B5-2C12C26FAEC5}"/>
              </a:ext>
            </a:extLst>
          </p:cNvPr>
          <p:cNvSpPr/>
          <p:nvPr/>
        </p:nvSpPr>
        <p:spPr>
          <a:xfrm rot="5400000">
            <a:off x="4720696" y="477728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C0830C9B-A823-8465-965B-8FED1C8F4DC6}"/>
              </a:ext>
            </a:extLst>
          </p:cNvPr>
          <p:cNvSpPr/>
          <p:nvPr/>
        </p:nvSpPr>
        <p:spPr>
          <a:xfrm>
            <a:off x="819178" y="1254165"/>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spTree>
    <p:extLst>
      <p:ext uri="{BB962C8B-B14F-4D97-AF65-F5344CB8AC3E}">
        <p14:creationId xmlns:p14="http://schemas.microsoft.com/office/powerpoint/2010/main" val="22888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SEM</a:t>
            </a:r>
            <a:endParaRPr lang="en-US" sz="1100" b="1" dirty="0">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4297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solidFill>
                <a:schemeClr val="tx2"/>
              </a:solidFill>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solidFill>
                <a:schemeClr val="tx2"/>
              </a:solidFill>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solidFill>
                <a:schemeClr val="tx1"/>
              </a:solidFill>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solidFill>
                <a:schemeClr val="tx2"/>
              </a:solidFill>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solidFill>
                <a:schemeClr val="tx2"/>
              </a:solidFill>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solidFill>
            <a:schemeClr val="tx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SEM</a:t>
            </a:r>
            <a:endParaRPr lang="en-US" sz="1100" b="1" dirty="0">
              <a:solidFill>
                <a:schemeClr val="tx1"/>
              </a:solidFill>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91368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3789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9" name="Rectangle 8">
            <a:extLst>
              <a:ext uri="{FF2B5EF4-FFF2-40B4-BE49-F238E27FC236}">
                <a16:creationId xmlns:a16="http://schemas.microsoft.com/office/drawing/2014/main" id="{91FD2247-2C6F-EC45-0CA1-F76A39832468}"/>
              </a:ext>
            </a:extLst>
          </p:cNvPr>
          <p:cNvSpPr/>
          <p:nvPr/>
        </p:nvSpPr>
        <p:spPr>
          <a:xfrm>
            <a:off x="524236" y="1068373"/>
            <a:ext cx="3408571"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4" name="Rectangle 13">
            <a:extLst>
              <a:ext uri="{FF2B5EF4-FFF2-40B4-BE49-F238E27FC236}">
                <a16:creationId xmlns:a16="http://schemas.microsoft.com/office/drawing/2014/main" id="{F1F44D77-8742-4A50-11CC-891D96B3D8CB}"/>
              </a:ext>
            </a:extLst>
          </p:cNvPr>
          <p:cNvSpPr/>
          <p:nvPr/>
        </p:nvSpPr>
        <p:spPr>
          <a:xfrm>
            <a:off x="4112294"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2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6" name="Rectangle 15">
            <a:extLst>
              <a:ext uri="{FF2B5EF4-FFF2-40B4-BE49-F238E27FC236}">
                <a16:creationId xmlns:a16="http://schemas.microsoft.com/office/drawing/2014/main" id="{16F6C848-E3CE-BEAE-0605-A562A512966A}"/>
              </a:ext>
            </a:extLst>
          </p:cNvPr>
          <p:cNvSpPr/>
          <p:nvPr/>
        </p:nvSpPr>
        <p:spPr>
          <a:xfrm>
            <a:off x="8142756"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36" name="Rectangle 35">
            <a:extLst>
              <a:ext uri="{FF2B5EF4-FFF2-40B4-BE49-F238E27FC236}">
                <a16:creationId xmlns:a16="http://schemas.microsoft.com/office/drawing/2014/main" id="{084633B3-4BBA-3BB5-BBE6-11AEA7C5C1C5}"/>
              </a:ext>
            </a:extLst>
          </p:cNvPr>
          <p:cNvSpPr/>
          <p:nvPr/>
        </p:nvSpPr>
        <p:spPr>
          <a:xfrm>
            <a:off x="552482"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err="1">
                <a:solidFill>
                  <a:srgbClr val="000000"/>
                </a:solidFill>
                <a:effectLst/>
                <a:latin typeface="+mj-lt"/>
              </a:rPr>
              <a:t>Agent_Code</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gent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ustomer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Kh</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E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Reg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rovinc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Account_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istrict</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ommun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Villag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Org_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Segment</a:t>
            </a:r>
            <a:r>
              <a:rPr lang="en-US" sz="1200" dirty="0">
                <a:latin typeface="+mj-lt"/>
              </a:rPr>
              <a:t> </a:t>
            </a:r>
          </a:p>
        </p:txBody>
      </p:sp>
      <p:sp>
        <p:nvSpPr>
          <p:cNvPr id="42" name="Rectangle 41">
            <a:extLst>
              <a:ext uri="{FF2B5EF4-FFF2-40B4-BE49-F238E27FC236}">
                <a16:creationId xmlns:a16="http://schemas.microsoft.com/office/drawing/2014/main" id="{9DDAD9AB-06F5-1D96-D46F-89018F8551DE}"/>
              </a:ext>
            </a:extLst>
          </p:cNvPr>
          <p:cNvSpPr/>
          <p:nvPr/>
        </p:nvSpPr>
        <p:spPr>
          <a:xfrm>
            <a:off x="543969" y="1958679"/>
            <a:ext cx="11449761"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List the Features</a:t>
            </a:r>
            <a:endParaRPr lang="en-US" sz="1400" b="1" dirty="0">
              <a:ea typeface="Calibri" panose="020F0502020204030204" pitchFamily="34" charset="0"/>
              <a:cs typeface="DaunPenh" panose="01010101010101010101" pitchFamily="2" charset="0"/>
            </a:endParaRPr>
          </a:p>
        </p:txBody>
      </p:sp>
      <p:sp>
        <p:nvSpPr>
          <p:cNvPr id="48" name="Rectangle 47">
            <a:extLst>
              <a:ext uri="{FF2B5EF4-FFF2-40B4-BE49-F238E27FC236}">
                <a16:creationId xmlns:a16="http://schemas.microsoft.com/office/drawing/2014/main" id="{41F73D80-1668-1016-873D-2E063D6A12D9}"/>
              </a:ext>
            </a:extLst>
          </p:cNvPr>
          <p:cNvSpPr/>
          <p:nvPr/>
        </p:nvSpPr>
        <p:spPr>
          <a:xfrm>
            <a:off x="4518734" y="2652370"/>
            <a:ext cx="3558467"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a:solidFill>
                  <a:srgbClr val="000000"/>
                </a:solidFill>
                <a:effectLst/>
                <a:latin typeface="+mj-lt"/>
              </a:rPr>
              <a:t>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hannel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CreditStatus</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Premiu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Premium_Brand</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No_</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DocType</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ContractTyp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emCod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Quant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HL</a:t>
            </a:r>
            <a:r>
              <a:rPr lang="en-US" sz="1200" dirty="0">
                <a:latin typeface="+mj-lt"/>
              </a:rPr>
              <a:t> </a:t>
            </a:r>
          </a:p>
        </p:txBody>
      </p:sp>
      <p:sp>
        <p:nvSpPr>
          <p:cNvPr id="50" name="Rectangle 49">
            <a:extLst>
              <a:ext uri="{FF2B5EF4-FFF2-40B4-BE49-F238E27FC236}">
                <a16:creationId xmlns:a16="http://schemas.microsoft.com/office/drawing/2014/main" id="{318C67E3-E9E9-F0B2-B0A2-073460EE2B24}"/>
              </a:ext>
            </a:extLst>
          </p:cNvPr>
          <p:cNvSpPr/>
          <p:nvPr/>
        </p:nvSpPr>
        <p:spPr>
          <a:xfrm>
            <a:off x="8154736"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dirty="0">
                <a:solidFill>
                  <a:srgbClr val="000000"/>
                </a:solidFill>
                <a:latin typeface="+mj-lt"/>
              </a:rPr>
              <a:t>a</a:t>
            </a:r>
            <a:r>
              <a:rPr lang="en-US" sz="1200" b="0" i="0" u="none" strike="noStrike" dirty="0">
                <a:solidFill>
                  <a:srgbClr val="000000"/>
                </a:solidFill>
                <a:effectLst/>
                <a:latin typeface="+mj-lt"/>
              </a:rPr>
              <a:t>mount1</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Amount Including VA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des</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1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2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3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4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Order Date</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escript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hipment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ue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Date</a:t>
            </a:r>
            <a:r>
              <a:rPr lang="en-US" sz="1200" dirty="0">
                <a:latin typeface="+mj-lt"/>
              </a:rPr>
              <a:t> </a:t>
            </a:r>
          </a:p>
        </p:txBody>
      </p:sp>
    </p:spTree>
    <p:extLst>
      <p:ext uri="{BB962C8B-B14F-4D97-AF65-F5344CB8AC3E}">
        <p14:creationId xmlns:p14="http://schemas.microsoft.com/office/powerpoint/2010/main" val="20466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F82B2D6-A098-428F-B29E-8A8B2A1FDA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2" progId="TCLayout.ActiveDocument.1">
                  <p:embed/>
                </p:oleObj>
              </mc:Choice>
              <mc:Fallback>
                <p:oleObj name="think-cell Slide" r:id="rId3" imgW="471" imgH="472" progId="TCLayout.ActiveDocument.1">
                  <p:embed/>
                  <p:pic>
                    <p:nvPicPr>
                      <p:cNvPr id="25" name="Object 24" hidden="1">
                        <a:extLst>
                          <a:ext uri="{FF2B5EF4-FFF2-40B4-BE49-F238E27FC236}">
                            <a16:creationId xmlns:a16="http://schemas.microsoft.com/office/drawing/2014/main" id="{2F82B2D6-A098-428F-B29E-8A8B2A1FD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174BFD3C-C91C-447B-8FB7-9247936F241C}"/>
              </a:ext>
            </a:extLst>
          </p:cNvPr>
          <p:cNvSpPr/>
          <p:nvPr/>
        </p:nvSpPr>
        <p:spPr>
          <a:xfrm>
            <a:off x="1407354" y="5123323"/>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r>
              <a:rPr lang="it-IT" sz="2000" b="1" dirty="0">
                <a:solidFill>
                  <a:srgbClr val="000000"/>
                </a:solidFill>
                <a:latin typeface="+mj-lt"/>
                <a:cs typeface="Calibri" panose="020F0502020204030204" pitchFamily="34" charset="0"/>
              </a:rPr>
              <a:t>  	    CONCLUSION</a:t>
            </a:r>
            <a:endParaRPr lang="en-GB" sz="2000" b="1" dirty="0">
              <a:solidFill>
                <a:srgbClr val="000000"/>
              </a:solidFill>
              <a:latin typeface="+mj-lt"/>
              <a:cs typeface="Calibri" panose="020F0502020204030204" pitchFamily="34" charset="0"/>
            </a:endParaRPr>
          </a:p>
        </p:txBody>
      </p:sp>
      <p:sp>
        <p:nvSpPr>
          <p:cNvPr id="26" name="Oval 25">
            <a:extLst>
              <a:ext uri="{FF2B5EF4-FFF2-40B4-BE49-F238E27FC236}">
                <a16:creationId xmlns:a16="http://schemas.microsoft.com/office/drawing/2014/main" id="{7815324A-EF1F-4304-8093-6F01DCDE8F79}"/>
              </a:ext>
            </a:extLst>
          </p:cNvPr>
          <p:cNvSpPr/>
          <p:nvPr/>
        </p:nvSpPr>
        <p:spPr>
          <a:xfrm>
            <a:off x="1156945" y="5108477"/>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Oval 26">
            <a:extLst>
              <a:ext uri="{FF2B5EF4-FFF2-40B4-BE49-F238E27FC236}">
                <a16:creationId xmlns:a16="http://schemas.microsoft.com/office/drawing/2014/main" id="{C5D1750E-8D41-4699-9BFC-A3F6EAB051CC}"/>
              </a:ext>
            </a:extLst>
          </p:cNvPr>
          <p:cNvSpPr/>
          <p:nvPr/>
        </p:nvSpPr>
        <p:spPr>
          <a:xfrm>
            <a:off x="1192945" y="5144989"/>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a:t>
            </a:r>
          </a:p>
        </p:txBody>
      </p:sp>
      <p:sp>
        <p:nvSpPr>
          <p:cNvPr id="47" name="Freeform: Shape 46">
            <a:extLst>
              <a:ext uri="{FF2B5EF4-FFF2-40B4-BE49-F238E27FC236}">
                <a16:creationId xmlns:a16="http://schemas.microsoft.com/office/drawing/2014/main" id="{B818B4FA-BC3B-4BEF-BE7B-79D0A83A2964}"/>
              </a:ext>
            </a:extLst>
          </p:cNvPr>
          <p:cNvSpPr/>
          <p:nvPr/>
        </p:nvSpPr>
        <p:spPr>
          <a:xfrm>
            <a:off x="1335354" y="3295070"/>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kumimoji="0" lang="en-GB" sz="28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STATE OF THE ART </a:t>
            </a:r>
            <a:endParaRPr lang="en-GB" sz="2000" b="1" dirty="0">
              <a:solidFill>
                <a:srgbClr val="000000"/>
              </a:solidFill>
              <a:latin typeface="+mj-lt"/>
              <a:cs typeface="Calibri" panose="020F0502020204030204" pitchFamily="34" charset="0"/>
            </a:endParaRPr>
          </a:p>
        </p:txBody>
      </p:sp>
      <p:sp>
        <p:nvSpPr>
          <p:cNvPr id="45" name="Oval 44">
            <a:extLst>
              <a:ext uri="{FF2B5EF4-FFF2-40B4-BE49-F238E27FC236}">
                <a16:creationId xmlns:a16="http://schemas.microsoft.com/office/drawing/2014/main" id="{CE9EE052-BC82-478F-920E-C365AC252908}"/>
              </a:ext>
            </a:extLst>
          </p:cNvPr>
          <p:cNvSpPr/>
          <p:nvPr/>
        </p:nvSpPr>
        <p:spPr>
          <a:xfrm>
            <a:off x="1120945" y="3273706"/>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Oval 45">
            <a:extLst>
              <a:ext uri="{FF2B5EF4-FFF2-40B4-BE49-F238E27FC236}">
                <a16:creationId xmlns:a16="http://schemas.microsoft.com/office/drawing/2014/main" id="{60D4DEFB-C502-4AC7-AFF2-4F02E6505E77}"/>
              </a:ext>
            </a:extLst>
          </p:cNvPr>
          <p:cNvSpPr/>
          <p:nvPr/>
        </p:nvSpPr>
        <p:spPr>
          <a:xfrm>
            <a:off x="1156945" y="331021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Freeform: Shape 40">
            <a:extLst>
              <a:ext uri="{FF2B5EF4-FFF2-40B4-BE49-F238E27FC236}">
                <a16:creationId xmlns:a16="http://schemas.microsoft.com/office/drawing/2014/main" id="{0BD4BFF0-7DC6-41D4-A424-5D2861F08E33}"/>
              </a:ext>
            </a:extLst>
          </p:cNvPr>
          <p:cNvSpPr/>
          <p:nvPr/>
        </p:nvSpPr>
        <p:spPr>
          <a:xfrm>
            <a:off x="1332969" y="23977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rgbClr val="C6EA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PROJECT INTRODUCTION</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 name="Oval 4">
            <a:extLst>
              <a:ext uri="{FF2B5EF4-FFF2-40B4-BE49-F238E27FC236}">
                <a16:creationId xmlns:a16="http://schemas.microsoft.com/office/drawing/2014/main" id="{70993FD2-E5BA-478C-A0ED-C6BECF7055DA}"/>
              </a:ext>
            </a:extLst>
          </p:cNvPr>
          <p:cNvSpPr/>
          <p:nvPr/>
        </p:nvSpPr>
        <p:spPr>
          <a:xfrm>
            <a:off x="1120945" y="2357059"/>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Oval 39">
            <a:extLst>
              <a:ext uri="{FF2B5EF4-FFF2-40B4-BE49-F238E27FC236}">
                <a16:creationId xmlns:a16="http://schemas.microsoft.com/office/drawing/2014/main" id="{F331B591-ED56-428B-ADA6-A2B3C0C59471}"/>
              </a:ext>
            </a:extLst>
          </p:cNvPr>
          <p:cNvSpPr/>
          <p:nvPr/>
        </p:nvSpPr>
        <p:spPr>
          <a:xfrm>
            <a:off x="1156945" y="239357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Freeform: Shape 38">
            <a:extLst>
              <a:ext uri="{FF2B5EF4-FFF2-40B4-BE49-F238E27FC236}">
                <a16:creationId xmlns:a16="http://schemas.microsoft.com/office/drawing/2014/main" id="{3A40EE30-DBC2-45B8-B20A-C7B752D6F0DB}"/>
              </a:ext>
            </a:extLst>
          </p:cNvPr>
          <p:cNvSpPr/>
          <p:nvPr/>
        </p:nvSpPr>
        <p:spPr>
          <a:xfrm>
            <a:off x="1371354" y="42051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lang="en-GB" b="1" dirty="0">
                <a:solidFill>
                  <a:srgbClr val="000000"/>
                </a:solidFill>
                <a:latin typeface="Calibri" panose="020F0502020204030204" pitchFamily="34" charset="0"/>
                <a:cs typeface="Calibri" panose="020F0502020204030204" pitchFamily="34" charset="0"/>
              </a:rPr>
              <a:t> 	    </a:t>
            </a:r>
            <a:r>
              <a:rPr lang="en-GB" sz="2000" b="1" dirty="0">
                <a:solidFill>
                  <a:srgbClr val="000000"/>
                </a:solidFill>
                <a:latin typeface="+mj-lt"/>
                <a:cs typeface="Calibri" panose="020F0502020204030204" pitchFamily="34" charset="0"/>
              </a:rPr>
              <a:t>ANALYSIS &amp; GENERAL CONCEPT</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42" name="Oval 41">
            <a:extLst>
              <a:ext uri="{FF2B5EF4-FFF2-40B4-BE49-F238E27FC236}">
                <a16:creationId xmlns:a16="http://schemas.microsoft.com/office/drawing/2014/main" id="{F7E9604F-5373-46FE-A6E4-F177E6F430BD}"/>
              </a:ext>
            </a:extLst>
          </p:cNvPr>
          <p:cNvSpPr/>
          <p:nvPr/>
        </p:nvSpPr>
        <p:spPr>
          <a:xfrm>
            <a:off x="1120945" y="4190353"/>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62E07033-8CC9-409B-94B5-C96763880C3A}"/>
              </a:ext>
            </a:extLst>
          </p:cNvPr>
          <p:cNvSpPr/>
          <p:nvPr/>
        </p:nvSpPr>
        <p:spPr>
          <a:xfrm>
            <a:off x="1156945" y="4226865"/>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37" name="Freeform: Shape 36">
            <a:extLst>
              <a:ext uri="{FF2B5EF4-FFF2-40B4-BE49-F238E27FC236}">
                <a16:creationId xmlns:a16="http://schemas.microsoft.com/office/drawing/2014/main" id="{26B3BF32-C308-41F7-8B6C-99B1ABD0DFA9}"/>
              </a:ext>
            </a:extLst>
          </p:cNvPr>
          <p:cNvSpPr/>
          <p:nvPr/>
        </p:nvSpPr>
        <p:spPr>
          <a:xfrm>
            <a:off x="1371354" y="1455258"/>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4" algn="l">
              <a:defRPr/>
            </a:pPr>
            <a:r>
              <a:rPr kumimoji="0" lang="en-GB" sz="20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HEINEKEN </a:t>
            </a:r>
            <a:r>
              <a:rPr lang="en-GB" sz="2000" b="1" kern="1200" dirty="0" err="1">
                <a:solidFill>
                  <a:srgbClr val="000000"/>
                </a:solidFill>
                <a:latin typeface="+mj-lt"/>
                <a:cs typeface="Calibri" panose="020F0502020204030204" pitchFamily="34" charset="0"/>
              </a:rPr>
              <a:t>OpCo</a:t>
            </a:r>
            <a:r>
              <a:rPr lang="en-GB" sz="2000" b="1" kern="1200" dirty="0">
                <a:solidFill>
                  <a:srgbClr val="000000"/>
                </a:solidFill>
                <a:latin typeface="+mj-lt"/>
                <a:cs typeface="Calibri" panose="020F0502020204030204" pitchFamily="34" charset="0"/>
              </a:rPr>
              <a:t> BASIC INFO</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0" name="Oval 49">
            <a:extLst>
              <a:ext uri="{FF2B5EF4-FFF2-40B4-BE49-F238E27FC236}">
                <a16:creationId xmlns:a16="http://schemas.microsoft.com/office/drawing/2014/main" id="{E19136AD-B9E0-4137-AEBB-0C65466E6C68}"/>
              </a:ext>
            </a:extLst>
          </p:cNvPr>
          <p:cNvSpPr/>
          <p:nvPr/>
        </p:nvSpPr>
        <p:spPr>
          <a:xfrm>
            <a:off x="1120945" y="1440412"/>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Oval 50">
            <a:extLst>
              <a:ext uri="{FF2B5EF4-FFF2-40B4-BE49-F238E27FC236}">
                <a16:creationId xmlns:a16="http://schemas.microsoft.com/office/drawing/2014/main" id="{C32A56F2-6EB0-466C-BA98-FB2A5CFA11A0}"/>
              </a:ext>
            </a:extLst>
          </p:cNvPr>
          <p:cNvSpPr/>
          <p:nvPr/>
        </p:nvSpPr>
        <p:spPr>
          <a:xfrm>
            <a:off x="1156945" y="1476924"/>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a:t>
            </a:r>
          </a:p>
        </p:txBody>
      </p:sp>
      <p:pic>
        <p:nvPicPr>
          <p:cNvPr id="21" name="Picture 16" descr="Image result for heineken bottle transparent">
            <a:extLst>
              <a:ext uri="{FF2B5EF4-FFF2-40B4-BE49-F238E27FC236}">
                <a16:creationId xmlns:a16="http://schemas.microsoft.com/office/drawing/2014/main" id="{A5579201-9C31-46EA-967C-13AF844BCCB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942" t="923" r="14376" b="4547"/>
          <a:stretch/>
        </p:blipFill>
        <p:spPr bwMode="auto">
          <a:xfrm>
            <a:off x="9312127" y="323557"/>
            <a:ext cx="1518169" cy="5730021"/>
          </a:xfrm>
          <a:prstGeom prst="rect">
            <a:avLst/>
          </a:prstGeom>
          <a:noFill/>
          <a:effectLst>
            <a:reflection blurRad="6350" stA="1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4" name="Slide Number Placeholder 2">
            <a:extLst>
              <a:ext uri="{FF2B5EF4-FFF2-40B4-BE49-F238E27FC236}">
                <a16:creationId xmlns:a16="http://schemas.microsoft.com/office/drawing/2014/main" id="{75ECDD93-4C27-47BB-92B0-60B003B954A7}"/>
              </a:ext>
            </a:extLst>
          </p:cNvPr>
          <p:cNvSpPr txBox="1">
            <a:spLocks/>
          </p:cNvSpPr>
          <p:nvPr/>
        </p:nvSpPr>
        <p:spPr bwMode="auto">
          <a:xfrm>
            <a:off x="463551" y="6314638"/>
            <a:ext cx="960967"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it-IT"/>
            </a:defPPr>
            <a:lvl1pPr marL="0" algn="l" defTabSz="914400" rtl="0" eaLnBrk="1" latinLnBrk="0" hangingPunct="1">
              <a:defRPr sz="1000" kern="1200">
                <a:solidFill>
                  <a:schemeClr val="bg1"/>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E829D-CFE5-4030-8F29-589686D67276}" type="slidenum">
              <a:rPr lang="en-GB" smtClean="0">
                <a:solidFill>
                  <a:srgbClr val="FFFFFF"/>
                </a:solidFill>
                <a:latin typeface="Calibri" panose="020F0502020204030204" pitchFamily="34" charset="0"/>
                <a:cs typeface="Calibri" panose="020F0502020204030204" pitchFamily="34" charset="0"/>
              </a:rPr>
              <a:pPr>
                <a:defRPr/>
              </a:pPr>
              <a:t>2</a:t>
            </a:fld>
            <a:endParaRPr lang="en-GB" dirty="0">
              <a:solidFill>
                <a:srgbClr val="FFFFFF"/>
              </a:solidFill>
              <a:latin typeface="Calibri" panose="020F0502020204030204" pitchFamily="34" charset="0"/>
              <a:cs typeface="Calibri" panose="020F0502020204030204" pitchFamily="34" charset="0"/>
            </a:endParaRPr>
          </a:p>
        </p:txBody>
      </p:sp>
      <p:sp>
        <p:nvSpPr>
          <p:cNvPr id="3" name="Titel 3">
            <a:extLst>
              <a:ext uri="{FF2B5EF4-FFF2-40B4-BE49-F238E27FC236}">
                <a16:creationId xmlns:a16="http://schemas.microsoft.com/office/drawing/2014/main" id="{F426DDA5-F46C-4CFE-526D-152E6692BF69}"/>
              </a:ext>
            </a:extLst>
          </p:cNvPr>
          <p:cNvSpPr txBox="1">
            <a:spLocks/>
          </p:cNvSpPr>
          <p:nvPr/>
        </p:nvSpPr>
        <p:spPr>
          <a:xfrm>
            <a:off x="847411" y="584027"/>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t>CONTENT OF TODAY</a:t>
            </a:r>
          </a:p>
        </p:txBody>
      </p:sp>
    </p:spTree>
    <p:extLst>
      <p:ext uri="{BB962C8B-B14F-4D97-AF65-F5344CB8AC3E}">
        <p14:creationId xmlns:p14="http://schemas.microsoft.com/office/powerpoint/2010/main" val="1888050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POWER BI Dashboard</a:t>
            </a:r>
            <a:endParaRPr lang="nl-NL" dirty="0"/>
          </a:p>
        </p:txBody>
      </p:sp>
      <p:sp>
        <p:nvSpPr>
          <p:cNvPr id="3" name="Text Placeholder 2">
            <a:extLst>
              <a:ext uri="{FF2B5EF4-FFF2-40B4-BE49-F238E27FC236}">
                <a16:creationId xmlns:a16="http://schemas.microsoft.com/office/drawing/2014/main" id="{80B01349-C192-0E4A-71B3-D54696421F2B}"/>
              </a:ext>
            </a:extLst>
          </p:cNvPr>
          <p:cNvSpPr>
            <a:spLocks noGrp="1"/>
          </p:cNvSpPr>
          <p:nvPr>
            <p:ph type="body" sz="quarter" idx="63"/>
          </p:nvPr>
        </p:nvSpPr>
        <p:spPr/>
        <p:txBody>
          <a:bodyPr>
            <a:normAutofit fontScale="70000" lnSpcReduction="20000"/>
          </a:bodyPr>
          <a:lstStyle/>
          <a:p>
            <a:r>
              <a:rPr lang="en-US" dirty="0"/>
              <a:t>Trade Program Performance Analysis</a:t>
            </a:r>
          </a:p>
        </p:txBody>
      </p:sp>
      <p:pic>
        <p:nvPicPr>
          <p:cNvPr id="6" name="Picture 5">
            <a:extLst>
              <a:ext uri="{FF2B5EF4-FFF2-40B4-BE49-F238E27FC236}">
                <a16:creationId xmlns:a16="http://schemas.microsoft.com/office/drawing/2014/main" id="{25A31F19-5201-126C-BB16-DD942141B23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7100" y="1326068"/>
            <a:ext cx="2623968" cy="2368244"/>
          </a:xfrm>
          <a:prstGeom prst="rect">
            <a:avLst/>
          </a:prstGeom>
        </p:spPr>
      </p:pic>
    </p:spTree>
    <p:extLst>
      <p:ext uri="{BB962C8B-B14F-4D97-AF65-F5344CB8AC3E}">
        <p14:creationId xmlns:p14="http://schemas.microsoft.com/office/powerpoint/2010/main" val="11185023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560309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SHBOARD ARCHITECTURE</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522668" y="2171200"/>
            <a:ext cx="631087" cy="72771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3224578" y="2877086"/>
            <a:ext cx="1276310" cy="307777"/>
          </a:xfrm>
          <a:prstGeom prst="rect">
            <a:avLst/>
          </a:prstGeom>
          <a:noFill/>
        </p:spPr>
        <p:txBody>
          <a:bodyPr wrap="none" rtlCol="0">
            <a:spAutoFit/>
          </a:bodyPr>
          <a:lstStyle/>
          <a:p>
            <a:r>
              <a:rPr lang="en-US" sz="1400" dirty="0"/>
              <a:t>Staging 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356288" y="1514560"/>
            <a:ext cx="1921211" cy="2013173"/>
            <a:chOff x="211241" y="1107143"/>
            <a:chExt cx="2147364" cy="2585035"/>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09699" y="1107143"/>
              <a:ext cx="985947" cy="1040344"/>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222" t="28188" r="33929"/>
            <a:stretch/>
          </p:blipFill>
          <p:spPr>
            <a:xfrm>
              <a:off x="1420432" y="2423712"/>
              <a:ext cx="938173" cy="372768"/>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1240" y="1286043"/>
              <a:ext cx="713606" cy="615062"/>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258" y="2404662"/>
              <a:ext cx="736638" cy="78363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1548" y="2076462"/>
              <a:ext cx="873444" cy="338554"/>
            </a:xfrm>
            <a:prstGeom prst="rect">
              <a:avLst/>
            </a:prstGeom>
            <a:noFill/>
          </p:spPr>
          <p:txBody>
            <a:bodyPr wrap="square" rtlCol="0">
              <a:spAutoFit/>
            </a:bodyPr>
            <a:lstStyle/>
            <a:p>
              <a:r>
                <a:rPr lang="en-US" sz="11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1511129" y="2066860"/>
              <a:ext cx="599844" cy="338554"/>
            </a:xfrm>
            <a:prstGeom prst="rect">
              <a:avLst/>
            </a:prstGeom>
            <a:noFill/>
          </p:spPr>
          <p:txBody>
            <a:bodyPr wrap="square" rtlCol="0">
              <a:spAutoFit/>
            </a:bodyPr>
            <a:lstStyle/>
            <a:p>
              <a:r>
                <a:rPr lang="en-US" sz="11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1271589" y="2784086"/>
              <a:ext cx="999918" cy="338554"/>
            </a:xfrm>
            <a:prstGeom prst="rect">
              <a:avLst/>
            </a:prstGeom>
            <a:noFill/>
          </p:spPr>
          <p:txBody>
            <a:bodyPr wrap="square" rtlCol="0">
              <a:spAutoFit/>
            </a:bodyPr>
            <a:lstStyle/>
            <a:p>
              <a:pPr algn="ctr"/>
              <a:r>
                <a:rPr lang="en-US" sz="1100" dirty="0"/>
                <a:t>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211241" y="3138893"/>
              <a:ext cx="1520481" cy="553285"/>
            </a:xfrm>
            <a:prstGeom prst="rect">
              <a:avLst/>
            </a:prstGeom>
            <a:noFill/>
          </p:spPr>
          <p:txBody>
            <a:bodyPr wrap="square" rtlCol="0">
              <a:spAutoFit/>
            </a:bodyPr>
            <a:lstStyle/>
            <a:p>
              <a:r>
                <a:rPr lang="en-US" sz="1100" dirty="0"/>
                <a:t>DOT </a:t>
              </a:r>
            </a:p>
            <a:p>
              <a:r>
                <a:rPr lang="en-US" sz="1100" dirty="0"/>
                <a:t>(</a:t>
              </a:r>
              <a:r>
                <a:rPr lang="en-US" sz="1100" dirty="0" err="1"/>
                <a:t>Tinh</a:t>
              </a:r>
              <a:r>
                <a:rPr lang="en-US" sz="1100" dirty="0"/>
                <a:t> Tos)</a:t>
              </a:r>
            </a:p>
          </p:txBody>
        </p:sp>
      </p:grpSp>
      <p:sp>
        <p:nvSpPr>
          <p:cNvPr id="36" name="Arrow: Right 35">
            <a:extLst>
              <a:ext uri="{FF2B5EF4-FFF2-40B4-BE49-F238E27FC236}">
                <a16:creationId xmlns:a16="http://schemas.microsoft.com/office/drawing/2014/main" id="{AD15B592-02EE-9EA2-9CE0-667922F19B55}"/>
              </a:ext>
            </a:extLst>
          </p:cNvPr>
          <p:cNvSpPr/>
          <p:nvPr/>
        </p:nvSpPr>
        <p:spPr>
          <a:xfrm>
            <a:off x="2578233"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454499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63" idx="1"/>
          </p:cNvCxnSpPr>
          <p:nvPr/>
        </p:nvCxnSpPr>
        <p:spPr>
          <a:xfrm rot="5400000" flipH="1" flipV="1">
            <a:off x="2551654" y="1828632"/>
            <a:ext cx="1184681" cy="247903"/>
          </a:xfrm>
          <a:prstGeom prst="bentConnector2">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C0830C9B-A823-8465-965B-8FED1C8F4DC6}"/>
              </a:ext>
            </a:extLst>
          </p:cNvPr>
          <p:cNvSpPr/>
          <p:nvPr/>
        </p:nvSpPr>
        <p:spPr>
          <a:xfrm>
            <a:off x="556655" y="1093243"/>
            <a:ext cx="1890474" cy="377582"/>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a:t>
            </a:r>
            <a:endParaRPr lang="en-US" sz="1400" b="1" dirty="0">
              <a:ea typeface="Calibri" panose="020F0502020204030204" pitchFamily="34" charset="0"/>
              <a:cs typeface="DaunPenh" panose="01010101010101010101" pitchFamily="2" charset="0"/>
            </a:endParaRPr>
          </a:p>
        </p:txBody>
      </p:sp>
      <p:pic>
        <p:nvPicPr>
          <p:cNvPr id="7" name="Picture 6">
            <a:extLst>
              <a:ext uri="{FF2B5EF4-FFF2-40B4-BE49-F238E27FC236}">
                <a16:creationId xmlns:a16="http://schemas.microsoft.com/office/drawing/2014/main" id="{EFB29313-6341-23B2-D982-EB6F982993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485958" y="2171200"/>
            <a:ext cx="631087" cy="727712"/>
          </a:xfrm>
          <a:prstGeom prst="rect">
            <a:avLst/>
          </a:prstGeom>
        </p:spPr>
      </p:pic>
      <p:sp>
        <p:nvSpPr>
          <p:cNvPr id="8" name="TextBox 7">
            <a:extLst>
              <a:ext uri="{FF2B5EF4-FFF2-40B4-BE49-F238E27FC236}">
                <a16:creationId xmlns:a16="http://schemas.microsoft.com/office/drawing/2014/main" id="{DDD6A26C-EA5D-7926-16CC-69C047D5708F}"/>
              </a:ext>
            </a:extLst>
          </p:cNvPr>
          <p:cNvSpPr txBox="1"/>
          <p:nvPr/>
        </p:nvSpPr>
        <p:spPr>
          <a:xfrm>
            <a:off x="5278437" y="2877086"/>
            <a:ext cx="1095172" cy="307777"/>
          </a:xfrm>
          <a:prstGeom prst="rect">
            <a:avLst/>
          </a:prstGeom>
          <a:noFill/>
        </p:spPr>
        <p:txBody>
          <a:bodyPr wrap="none" rtlCol="0">
            <a:spAutoFit/>
          </a:bodyPr>
          <a:lstStyle/>
          <a:p>
            <a:r>
              <a:rPr lang="en-US" sz="1400" dirty="0"/>
              <a:t>DWH Server</a:t>
            </a:r>
          </a:p>
        </p:txBody>
      </p:sp>
      <p:pic>
        <p:nvPicPr>
          <p:cNvPr id="1026" name="Picture 2" descr="Power BI Helper – A Power BI Tool That Helps!">
            <a:extLst>
              <a:ext uri="{FF2B5EF4-FFF2-40B4-BE49-F238E27FC236}">
                <a16:creationId xmlns:a16="http://schemas.microsoft.com/office/drawing/2014/main" id="{1E2972A5-C25A-BB49-1E42-78EAAB4C5CA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13736" y="2132882"/>
            <a:ext cx="881335" cy="748156"/>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Right 17">
            <a:extLst>
              <a:ext uri="{FF2B5EF4-FFF2-40B4-BE49-F238E27FC236}">
                <a16:creationId xmlns:a16="http://schemas.microsoft.com/office/drawing/2014/main" id="{034F01B9-9FCB-C1F1-5AB8-A9FCB565C350}"/>
              </a:ext>
            </a:extLst>
          </p:cNvPr>
          <p:cNvSpPr/>
          <p:nvPr/>
        </p:nvSpPr>
        <p:spPr>
          <a:xfrm>
            <a:off x="652751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B1C6931-A04C-B00E-9AEB-C4A1D2CB9ED6}"/>
              </a:ext>
            </a:extLst>
          </p:cNvPr>
          <p:cNvSpPr/>
          <p:nvPr/>
        </p:nvSpPr>
        <p:spPr>
          <a:xfrm>
            <a:off x="3267945" y="2144377"/>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3" name="Rectangle 42">
            <a:extLst>
              <a:ext uri="{FF2B5EF4-FFF2-40B4-BE49-F238E27FC236}">
                <a16:creationId xmlns:a16="http://schemas.microsoft.com/office/drawing/2014/main" id="{C6C41334-82AE-F924-2F16-958E87FDA033}"/>
              </a:ext>
            </a:extLst>
          </p:cNvPr>
          <p:cNvSpPr/>
          <p:nvPr/>
        </p:nvSpPr>
        <p:spPr>
          <a:xfrm>
            <a:off x="5179379"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D26E7EC3-5AAC-1303-AD7E-CF025F2AEBAB}"/>
              </a:ext>
            </a:extLst>
          </p:cNvPr>
          <p:cNvSpPr/>
          <p:nvPr/>
        </p:nvSpPr>
        <p:spPr>
          <a:xfrm>
            <a:off x="7253770"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4" name="TextBox 53">
            <a:extLst>
              <a:ext uri="{FF2B5EF4-FFF2-40B4-BE49-F238E27FC236}">
                <a16:creationId xmlns:a16="http://schemas.microsoft.com/office/drawing/2014/main" id="{FEE3A812-0574-863B-48B9-051BD7467071}"/>
              </a:ext>
            </a:extLst>
          </p:cNvPr>
          <p:cNvSpPr txBox="1"/>
          <p:nvPr/>
        </p:nvSpPr>
        <p:spPr>
          <a:xfrm>
            <a:off x="7300407" y="2877086"/>
            <a:ext cx="1107997" cy="307777"/>
          </a:xfrm>
          <a:prstGeom prst="rect">
            <a:avLst/>
          </a:prstGeom>
          <a:noFill/>
        </p:spPr>
        <p:txBody>
          <a:bodyPr wrap="none" rtlCol="0">
            <a:spAutoFit/>
          </a:bodyPr>
          <a:lstStyle/>
          <a:p>
            <a:r>
              <a:rPr lang="en-US" sz="1400" dirty="0"/>
              <a:t>PBI Desktop</a:t>
            </a:r>
          </a:p>
        </p:txBody>
      </p:sp>
      <p:sp>
        <p:nvSpPr>
          <p:cNvPr id="55" name="Rectangle: Rounded Corners 54">
            <a:extLst>
              <a:ext uri="{FF2B5EF4-FFF2-40B4-BE49-F238E27FC236}">
                <a16:creationId xmlns:a16="http://schemas.microsoft.com/office/drawing/2014/main" id="{C6379EC0-3714-E6F5-D63A-0009428A8CC7}"/>
              </a:ext>
            </a:extLst>
          </p:cNvPr>
          <p:cNvSpPr/>
          <p:nvPr/>
        </p:nvSpPr>
        <p:spPr>
          <a:xfrm>
            <a:off x="9756559" y="1099168"/>
            <a:ext cx="2068497"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Machine Learning Model Deployed</a:t>
            </a:r>
          </a:p>
        </p:txBody>
      </p:sp>
      <p:sp>
        <p:nvSpPr>
          <p:cNvPr id="58" name="Rectangle 57">
            <a:extLst>
              <a:ext uri="{FF2B5EF4-FFF2-40B4-BE49-F238E27FC236}">
                <a16:creationId xmlns:a16="http://schemas.microsoft.com/office/drawing/2014/main" id="{A7676B55-3209-273F-4F0B-B4834585DBAE}"/>
              </a:ext>
            </a:extLst>
          </p:cNvPr>
          <p:cNvSpPr/>
          <p:nvPr/>
        </p:nvSpPr>
        <p:spPr>
          <a:xfrm>
            <a:off x="9826321" y="2113549"/>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60" name="Picture 59" descr="Background pattern&#10;&#10;Description automatically generated with medium confidence">
            <a:extLst>
              <a:ext uri="{FF2B5EF4-FFF2-40B4-BE49-F238E27FC236}">
                <a16:creationId xmlns:a16="http://schemas.microsoft.com/office/drawing/2014/main" id="{28DB64F6-B806-639A-6718-0BAD2AE3B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66871" y="2212286"/>
            <a:ext cx="920165" cy="920165"/>
          </a:xfrm>
          <a:prstGeom prst="rect">
            <a:avLst/>
          </a:prstGeom>
        </p:spPr>
      </p:pic>
      <p:sp>
        <p:nvSpPr>
          <p:cNvPr id="63" name="Rectangle: Rounded Corners 62">
            <a:extLst>
              <a:ext uri="{FF2B5EF4-FFF2-40B4-BE49-F238E27FC236}">
                <a16:creationId xmlns:a16="http://schemas.microsoft.com/office/drawing/2014/main" id="{13B9F673-6E17-5CE4-02E0-1516C5829949}"/>
              </a:ext>
            </a:extLst>
          </p:cNvPr>
          <p:cNvSpPr/>
          <p:nvPr/>
        </p:nvSpPr>
        <p:spPr>
          <a:xfrm>
            <a:off x="3267946" y="1082884"/>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ETL Tool (Optional)</a:t>
            </a:r>
          </a:p>
          <a:p>
            <a:pPr algn="ctr"/>
            <a:r>
              <a:rPr lang="en-US" sz="1200" dirty="0">
                <a:solidFill>
                  <a:schemeClr val="bg2"/>
                </a:solidFill>
              </a:rPr>
              <a:t>SSIS or Azure Factory</a:t>
            </a:r>
          </a:p>
        </p:txBody>
      </p:sp>
      <p:cxnSp>
        <p:nvCxnSpPr>
          <p:cNvPr id="1032" name="Connector: Elbow 1031">
            <a:extLst>
              <a:ext uri="{FF2B5EF4-FFF2-40B4-BE49-F238E27FC236}">
                <a16:creationId xmlns:a16="http://schemas.microsoft.com/office/drawing/2014/main" id="{8ED43224-BE67-1298-6966-1EE24FE37F03}"/>
              </a:ext>
            </a:extLst>
          </p:cNvPr>
          <p:cNvCxnSpPr>
            <a:cxnSpLocks/>
            <a:stCxn id="58" idx="0"/>
            <a:endCxn id="55" idx="2"/>
          </p:cNvCxnSpPr>
          <p:nvPr/>
        </p:nvCxnSpPr>
        <p:spPr>
          <a:xfrm rot="5400000" flipH="1" flipV="1">
            <a:off x="10379049" y="1701790"/>
            <a:ext cx="459665" cy="363854"/>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7" name="Arrow: Right 1036">
            <a:extLst>
              <a:ext uri="{FF2B5EF4-FFF2-40B4-BE49-F238E27FC236}">
                <a16:creationId xmlns:a16="http://schemas.microsoft.com/office/drawing/2014/main" id="{63D80ECD-356B-13C0-DB48-552B2E203D1E}"/>
              </a:ext>
            </a:extLst>
          </p:cNvPr>
          <p:cNvSpPr/>
          <p:nvPr/>
        </p:nvSpPr>
        <p:spPr>
          <a:xfrm rot="10800000">
            <a:off x="8732619" y="2544923"/>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39" name="Picture 1038" descr="Diagram&#10;&#10;Description automatically generated">
            <a:extLst>
              <a:ext uri="{FF2B5EF4-FFF2-40B4-BE49-F238E27FC236}">
                <a16:creationId xmlns:a16="http://schemas.microsoft.com/office/drawing/2014/main" id="{C4B0F996-5791-4A4C-58BF-9CF927DF81AA}"/>
              </a:ext>
            </a:extLst>
          </p:cNvPr>
          <p:cNvPicPr>
            <a:picLocks noChangeAspect="1"/>
          </p:cNvPicPr>
          <p:nvPr/>
        </p:nvPicPr>
        <p:blipFill rotWithShape="1">
          <a:blip r:embed="rId14">
            <a:extLst>
              <a:ext uri="{28A0092B-C50C-407E-A947-70E740481C1C}">
                <a14:useLocalDpi xmlns:a14="http://schemas.microsoft.com/office/drawing/2010/main" val="0"/>
              </a:ext>
            </a:extLst>
          </a:blip>
          <a:srcRect l="2430" t="56974" r="50000"/>
          <a:stretch/>
        </p:blipFill>
        <p:spPr>
          <a:xfrm>
            <a:off x="6820906" y="4492681"/>
            <a:ext cx="2300590" cy="1360296"/>
          </a:xfrm>
          <a:prstGeom prst="rect">
            <a:avLst/>
          </a:prstGeom>
        </p:spPr>
      </p:pic>
      <p:sp>
        <p:nvSpPr>
          <p:cNvPr id="1040" name="Arrow: Right 1039">
            <a:extLst>
              <a:ext uri="{FF2B5EF4-FFF2-40B4-BE49-F238E27FC236}">
                <a16:creationId xmlns:a16="http://schemas.microsoft.com/office/drawing/2014/main" id="{A0C41ABC-F2FF-5258-DB01-129ECE2446DD}"/>
              </a:ext>
            </a:extLst>
          </p:cNvPr>
          <p:cNvSpPr/>
          <p:nvPr/>
        </p:nvSpPr>
        <p:spPr>
          <a:xfrm rot="5400000">
            <a:off x="7575097" y="36124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Rectangle: Rounded Corners 1040">
            <a:extLst>
              <a:ext uri="{FF2B5EF4-FFF2-40B4-BE49-F238E27FC236}">
                <a16:creationId xmlns:a16="http://schemas.microsoft.com/office/drawing/2014/main" id="{E3A72A8C-0A22-5D98-A86C-FB3748A9DF4A}"/>
              </a:ext>
            </a:extLst>
          </p:cNvPr>
          <p:cNvSpPr/>
          <p:nvPr/>
        </p:nvSpPr>
        <p:spPr>
          <a:xfrm>
            <a:off x="9735844" y="4248326"/>
            <a:ext cx="1271028" cy="1704005"/>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Used to secure data transfer between </a:t>
            </a:r>
          </a:p>
          <a:p>
            <a:pPr algn="ctr"/>
            <a:r>
              <a:rPr lang="en-US" sz="1200" dirty="0">
                <a:solidFill>
                  <a:schemeClr val="bg2"/>
                </a:solidFill>
              </a:rPr>
              <a:t>on-premises data</a:t>
            </a:r>
          </a:p>
        </p:txBody>
      </p:sp>
      <p:pic>
        <p:nvPicPr>
          <p:cNvPr id="1043" name="Picture 1042" descr="Diagram&#10;&#10;Description automatically generated">
            <a:extLst>
              <a:ext uri="{FF2B5EF4-FFF2-40B4-BE49-F238E27FC236}">
                <a16:creationId xmlns:a16="http://schemas.microsoft.com/office/drawing/2014/main" id="{56620AB5-E92E-AC2F-1E3F-21A246E52E36}"/>
              </a:ext>
            </a:extLst>
          </p:cNvPr>
          <p:cNvPicPr>
            <a:picLocks noChangeAspect="1"/>
          </p:cNvPicPr>
          <p:nvPr/>
        </p:nvPicPr>
        <p:blipFill rotWithShape="1">
          <a:blip r:embed="rId14">
            <a:extLst>
              <a:ext uri="{28A0092B-C50C-407E-A947-70E740481C1C}">
                <a14:useLocalDpi xmlns:a14="http://schemas.microsoft.com/office/drawing/2010/main" val="0"/>
              </a:ext>
            </a:extLst>
          </a:blip>
          <a:srcRect l="502" t="8695" r="47320" b="43059"/>
          <a:stretch/>
        </p:blipFill>
        <p:spPr>
          <a:xfrm>
            <a:off x="3414582" y="4452634"/>
            <a:ext cx="2121283" cy="1282218"/>
          </a:xfrm>
          <a:prstGeom prst="rect">
            <a:avLst/>
          </a:prstGeom>
        </p:spPr>
      </p:pic>
      <p:sp>
        <p:nvSpPr>
          <p:cNvPr id="1044" name="Rectangle 1043">
            <a:extLst>
              <a:ext uri="{FF2B5EF4-FFF2-40B4-BE49-F238E27FC236}">
                <a16:creationId xmlns:a16="http://schemas.microsoft.com/office/drawing/2014/main" id="{09DCDB7F-8861-E50D-AA0D-AFB9B773E701}"/>
              </a:ext>
            </a:extLst>
          </p:cNvPr>
          <p:cNvSpPr/>
          <p:nvPr/>
        </p:nvSpPr>
        <p:spPr>
          <a:xfrm>
            <a:off x="3267945" y="2145264"/>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5" name="Rectangle 1044">
            <a:extLst>
              <a:ext uri="{FF2B5EF4-FFF2-40B4-BE49-F238E27FC236}">
                <a16:creationId xmlns:a16="http://schemas.microsoft.com/office/drawing/2014/main" id="{676A1141-B7D7-B1B5-6E53-AAF7029EDA2B}"/>
              </a:ext>
            </a:extLst>
          </p:cNvPr>
          <p:cNvSpPr/>
          <p:nvPr/>
        </p:nvSpPr>
        <p:spPr>
          <a:xfrm>
            <a:off x="3267570" y="424832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6" name="Rectangle 1045">
            <a:extLst>
              <a:ext uri="{FF2B5EF4-FFF2-40B4-BE49-F238E27FC236}">
                <a16:creationId xmlns:a16="http://schemas.microsoft.com/office/drawing/2014/main" id="{279A0D12-9493-B6F3-5157-8EFDF59B90E0}"/>
              </a:ext>
            </a:extLst>
          </p:cNvPr>
          <p:cNvSpPr/>
          <p:nvPr/>
        </p:nvSpPr>
        <p:spPr>
          <a:xfrm>
            <a:off x="6766662" y="426149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cxnSp>
        <p:nvCxnSpPr>
          <p:cNvPr id="1047" name="Connector: Elbow 1046">
            <a:extLst>
              <a:ext uri="{FF2B5EF4-FFF2-40B4-BE49-F238E27FC236}">
                <a16:creationId xmlns:a16="http://schemas.microsoft.com/office/drawing/2014/main" id="{069D8D26-16AB-0566-08B8-FAC05460E8DF}"/>
              </a:ext>
            </a:extLst>
          </p:cNvPr>
          <p:cNvCxnSpPr>
            <a:cxnSpLocks/>
            <a:stCxn id="1039" idx="3"/>
            <a:endCxn id="1041" idx="1"/>
          </p:cNvCxnSpPr>
          <p:nvPr/>
        </p:nvCxnSpPr>
        <p:spPr>
          <a:xfrm flipV="1">
            <a:off x="9121496" y="5100329"/>
            <a:ext cx="614348" cy="72500"/>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52" name="Arrow: Right 1051">
            <a:extLst>
              <a:ext uri="{FF2B5EF4-FFF2-40B4-BE49-F238E27FC236}">
                <a16:creationId xmlns:a16="http://schemas.microsoft.com/office/drawing/2014/main" id="{C75944C5-98BF-3801-C087-330F1CF413D8}"/>
              </a:ext>
            </a:extLst>
          </p:cNvPr>
          <p:cNvSpPr/>
          <p:nvPr/>
        </p:nvSpPr>
        <p:spPr>
          <a:xfrm rot="10800000">
            <a:off x="5901627"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4" name="Picture 1053" descr="Diagram&#10;&#10;Description automatically generated">
            <a:extLst>
              <a:ext uri="{FF2B5EF4-FFF2-40B4-BE49-F238E27FC236}">
                <a16:creationId xmlns:a16="http://schemas.microsoft.com/office/drawing/2014/main" id="{D13E08CB-9675-591D-938F-BE9F44A4F5B5}"/>
              </a:ext>
            </a:extLst>
          </p:cNvPr>
          <p:cNvPicPr>
            <a:picLocks noChangeAspect="1"/>
          </p:cNvPicPr>
          <p:nvPr/>
        </p:nvPicPr>
        <p:blipFill rotWithShape="1">
          <a:blip r:embed="rId14">
            <a:extLst>
              <a:ext uri="{28A0092B-C50C-407E-A947-70E740481C1C}">
                <a14:useLocalDpi xmlns:a14="http://schemas.microsoft.com/office/drawing/2010/main" val="0"/>
              </a:ext>
            </a:extLst>
          </a:blip>
          <a:srcRect l="68588" b="24055"/>
          <a:stretch/>
        </p:blipFill>
        <p:spPr>
          <a:xfrm>
            <a:off x="866378" y="4095903"/>
            <a:ext cx="1271028" cy="2008849"/>
          </a:xfrm>
          <a:prstGeom prst="rect">
            <a:avLst/>
          </a:prstGeom>
        </p:spPr>
      </p:pic>
      <p:sp>
        <p:nvSpPr>
          <p:cNvPr id="1055" name="Rectangle 1054">
            <a:extLst>
              <a:ext uri="{FF2B5EF4-FFF2-40B4-BE49-F238E27FC236}">
                <a16:creationId xmlns:a16="http://schemas.microsoft.com/office/drawing/2014/main" id="{BC12E7E7-E880-9200-8033-6CE66BAF031A}"/>
              </a:ext>
            </a:extLst>
          </p:cNvPr>
          <p:cNvSpPr/>
          <p:nvPr/>
        </p:nvSpPr>
        <p:spPr>
          <a:xfrm>
            <a:off x="556655" y="4276284"/>
            <a:ext cx="1899501"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56" name="Arrow: Right 1055">
            <a:extLst>
              <a:ext uri="{FF2B5EF4-FFF2-40B4-BE49-F238E27FC236}">
                <a16:creationId xmlns:a16="http://schemas.microsoft.com/office/drawing/2014/main" id="{9B7A8892-990F-0EB2-765C-F08FB8480340}"/>
              </a:ext>
            </a:extLst>
          </p:cNvPr>
          <p:cNvSpPr/>
          <p:nvPr/>
        </p:nvSpPr>
        <p:spPr>
          <a:xfrm rot="10800000">
            <a:off x="2575525"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7" name="Rectangle 1056">
            <a:extLst>
              <a:ext uri="{FF2B5EF4-FFF2-40B4-BE49-F238E27FC236}">
                <a16:creationId xmlns:a16="http://schemas.microsoft.com/office/drawing/2014/main" id="{1203F925-AF70-E304-5B28-ECBD304AA14D}"/>
              </a:ext>
            </a:extLst>
          </p:cNvPr>
          <p:cNvSpPr/>
          <p:nvPr/>
        </p:nvSpPr>
        <p:spPr>
          <a:xfrm>
            <a:off x="554047" y="1592811"/>
            <a:ext cx="1899502" cy="1934922"/>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1058" name="Graphic 1057" descr="Users with solid fill">
            <a:extLst>
              <a:ext uri="{FF2B5EF4-FFF2-40B4-BE49-F238E27FC236}">
                <a16:creationId xmlns:a16="http://schemas.microsoft.com/office/drawing/2014/main" id="{9F0E00EC-D306-DB6C-E0F0-A118EE2D7F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0601" y="4612478"/>
            <a:ext cx="914400" cy="914400"/>
          </a:xfrm>
          <a:prstGeom prst="rect">
            <a:avLst/>
          </a:prstGeom>
        </p:spPr>
      </p:pic>
      <p:sp>
        <p:nvSpPr>
          <p:cNvPr id="1059" name="TextBox 1058">
            <a:extLst>
              <a:ext uri="{FF2B5EF4-FFF2-40B4-BE49-F238E27FC236}">
                <a16:creationId xmlns:a16="http://schemas.microsoft.com/office/drawing/2014/main" id="{D92889B4-5CFA-5EDA-ECD6-43A3CBA72952}"/>
              </a:ext>
            </a:extLst>
          </p:cNvPr>
          <p:cNvSpPr txBox="1"/>
          <p:nvPr/>
        </p:nvSpPr>
        <p:spPr>
          <a:xfrm>
            <a:off x="3935073" y="5989580"/>
            <a:ext cx="1019831" cy="307777"/>
          </a:xfrm>
          <a:prstGeom prst="rect">
            <a:avLst/>
          </a:prstGeom>
          <a:noFill/>
        </p:spPr>
        <p:txBody>
          <a:bodyPr wrap="none" rtlCol="0">
            <a:spAutoFit/>
          </a:bodyPr>
          <a:lstStyle/>
          <a:p>
            <a:r>
              <a:rPr lang="en-US" sz="1400" dirty="0"/>
              <a:t>PBI Service</a:t>
            </a:r>
          </a:p>
        </p:txBody>
      </p:sp>
      <p:sp>
        <p:nvSpPr>
          <p:cNvPr id="1060" name="TextBox 1059">
            <a:extLst>
              <a:ext uri="{FF2B5EF4-FFF2-40B4-BE49-F238E27FC236}">
                <a16:creationId xmlns:a16="http://schemas.microsoft.com/office/drawing/2014/main" id="{DAC45659-891E-58E6-21A5-7543B6DEF14D}"/>
              </a:ext>
            </a:extLst>
          </p:cNvPr>
          <p:cNvSpPr txBox="1"/>
          <p:nvPr/>
        </p:nvSpPr>
        <p:spPr>
          <a:xfrm>
            <a:off x="7352283" y="5989580"/>
            <a:ext cx="1237839" cy="307777"/>
          </a:xfrm>
          <a:prstGeom prst="rect">
            <a:avLst/>
          </a:prstGeom>
          <a:noFill/>
        </p:spPr>
        <p:txBody>
          <a:bodyPr wrap="none" rtlCol="0">
            <a:spAutoFit/>
          </a:bodyPr>
          <a:lstStyle/>
          <a:p>
            <a:r>
              <a:rPr lang="en-US" sz="1400" dirty="0"/>
              <a:t>PBI Gateways</a:t>
            </a:r>
          </a:p>
        </p:txBody>
      </p:sp>
      <p:sp>
        <p:nvSpPr>
          <p:cNvPr id="1061" name="TextBox 1060">
            <a:extLst>
              <a:ext uri="{FF2B5EF4-FFF2-40B4-BE49-F238E27FC236}">
                <a16:creationId xmlns:a16="http://schemas.microsoft.com/office/drawing/2014/main" id="{2BE0C5F1-F98D-D0F1-1FFB-F61A9E5A05F7}"/>
              </a:ext>
            </a:extLst>
          </p:cNvPr>
          <p:cNvSpPr txBox="1"/>
          <p:nvPr/>
        </p:nvSpPr>
        <p:spPr>
          <a:xfrm>
            <a:off x="942434" y="5977356"/>
            <a:ext cx="1071127" cy="307777"/>
          </a:xfrm>
          <a:prstGeom prst="rect">
            <a:avLst/>
          </a:prstGeom>
          <a:noFill/>
        </p:spPr>
        <p:txBody>
          <a:bodyPr wrap="none" rtlCol="0">
            <a:spAutoFit/>
          </a:bodyPr>
          <a:lstStyle/>
          <a:p>
            <a:r>
              <a:rPr lang="en-US" sz="1400" dirty="0"/>
              <a:t>User Access</a:t>
            </a:r>
          </a:p>
        </p:txBody>
      </p:sp>
      <p:sp>
        <p:nvSpPr>
          <p:cNvPr id="1063" name="Rectangle: Rounded Corners 1062">
            <a:extLst>
              <a:ext uri="{FF2B5EF4-FFF2-40B4-BE49-F238E27FC236}">
                <a16:creationId xmlns:a16="http://schemas.microsoft.com/office/drawing/2014/main" id="{74A3658E-20C1-D824-E786-8636897669F2}"/>
              </a:ext>
            </a:extLst>
          </p:cNvPr>
          <p:cNvSpPr/>
          <p:nvPr/>
        </p:nvSpPr>
        <p:spPr>
          <a:xfrm>
            <a:off x="6512252" y="1091300"/>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Dashboard Development</a:t>
            </a:r>
          </a:p>
        </p:txBody>
      </p:sp>
      <p:cxnSp>
        <p:nvCxnSpPr>
          <p:cNvPr id="1065" name="Connector: Elbow 1064">
            <a:extLst>
              <a:ext uri="{FF2B5EF4-FFF2-40B4-BE49-F238E27FC236}">
                <a16:creationId xmlns:a16="http://schemas.microsoft.com/office/drawing/2014/main" id="{DCDBE390-9424-C6FE-BDB7-45AE6858177C}"/>
              </a:ext>
            </a:extLst>
          </p:cNvPr>
          <p:cNvCxnSpPr>
            <a:cxnSpLocks/>
            <a:stCxn id="53" idx="0"/>
            <a:endCxn id="1063" idx="2"/>
          </p:cNvCxnSpPr>
          <p:nvPr/>
        </p:nvCxnSpPr>
        <p:spPr>
          <a:xfrm rot="5400000" flipH="1" flipV="1">
            <a:off x="7725188" y="1775231"/>
            <a:ext cx="469110" cy="210681"/>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0047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2931736"/>
            <a:ext cx="4486963" cy="874878"/>
          </a:xfrm>
        </p:spPr>
        <p:txBody>
          <a:bodyPr/>
          <a:lstStyle/>
          <a:p>
            <a:r>
              <a:rPr lang="en-US" dirty="0"/>
              <a:t>TECHNOLOGY</a:t>
            </a:r>
            <a:endParaRPr lang="nl-NL" dirty="0"/>
          </a:p>
        </p:txBody>
      </p:sp>
    </p:spTree>
    <p:extLst>
      <p:ext uri="{BB962C8B-B14F-4D97-AF65-F5344CB8AC3E}">
        <p14:creationId xmlns:p14="http://schemas.microsoft.com/office/powerpoint/2010/main" val="23313468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4487863" cy="3233737"/>
          </a:xfrm>
        </p:spPr>
        <p:txBody>
          <a:bodyPr/>
          <a:lstStyle/>
          <a:p>
            <a:r>
              <a:rPr lang="en-US" dirty="0"/>
              <a:t>TECHNOLOGY</a:t>
            </a:r>
            <a:endParaRPr lang="nl-NL" dirty="0"/>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8" y="3533334"/>
            <a:ext cx="5403176"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9955" y="3997856"/>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2004" y="3974580"/>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596275" y="3905438"/>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3236119" y="5473633"/>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1746801" y="5176278"/>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4737160" y="5237868"/>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421196" y="5051754"/>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err="1">
                <a:latin typeface="+mj-lt"/>
              </a:rPr>
              <a:t>SKLearn</a:t>
            </a:r>
            <a:endParaRPr lang="en-US" sz="1500" b="1" dirty="0">
              <a:latin typeface="+mj-lt"/>
            </a:endParaRPr>
          </a:p>
        </p:txBody>
      </p:sp>
      <p:sp>
        <p:nvSpPr>
          <p:cNvPr id="10" name="TextBox 9">
            <a:extLst>
              <a:ext uri="{FF2B5EF4-FFF2-40B4-BE49-F238E27FC236}">
                <a16:creationId xmlns:a16="http://schemas.microsoft.com/office/drawing/2014/main" id="{446CA358-2545-EEBC-3898-17BE9A382249}"/>
              </a:ext>
            </a:extLst>
          </p:cNvPr>
          <p:cNvSpPr txBox="1"/>
          <p:nvPr/>
        </p:nvSpPr>
        <p:spPr>
          <a:xfrm>
            <a:off x="2925784" y="50653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509041" y="508315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3" name="Rectangle 22">
            <a:extLst>
              <a:ext uri="{FF2B5EF4-FFF2-40B4-BE49-F238E27FC236}">
                <a16:creationId xmlns:a16="http://schemas.microsoft.com/office/drawing/2014/main" id="{3230D977-873D-4964-6608-B987A995D1FA}"/>
              </a:ext>
            </a:extLst>
          </p:cNvPr>
          <p:cNvSpPr/>
          <p:nvPr/>
        </p:nvSpPr>
        <p:spPr>
          <a:xfrm>
            <a:off x="6656339" y="3533334"/>
            <a:ext cx="5230860"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4">
            <a:extLst>
              <a:ext uri="{FF2B5EF4-FFF2-40B4-BE49-F238E27FC236}">
                <a16:creationId xmlns:a16="http://schemas.microsoft.com/office/drawing/2014/main" id="{723A7A75-D172-DB23-386C-5CE45FDDAB18}"/>
              </a:ext>
            </a:extLst>
          </p:cNvPr>
          <p:cNvSpPr txBox="1">
            <a:spLocks/>
          </p:cNvSpPr>
          <p:nvPr/>
        </p:nvSpPr>
        <p:spPr>
          <a:xfrm>
            <a:off x="6651667" y="3528874"/>
            <a:ext cx="1926588"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FRAMEWORKS</a:t>
            </a:r>
          </a:p>
        </p:txBody>
      </p:sp>
      <p:pic>
        <p:nvPicPr>
          <p:cNvPr id="1049" name="Picture 25">
            <a:extLst>
              <a:ext uri="{FF2B5EF4-FFF2-40B4-BE49-F238E27FC236}">
                <a16:creationId xmlns:a16="http://schemas.microsoft.com/office/drawing/2014/main" id="{9B019978-5EBB-102B-460F-C6BFDADD1A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41268" y="3949184"/>
            <a:ext cx="2481852" cy="26545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Keras - Wikipedia">
            <a:extLst>
              <a:ext uri="{FF2B5EF4-FFF2-40B4-BE49-F238E27FC236}">
                <a16:creationId xmlns:a16="http://schemas.microsoft.com/office/drawing/2014/main" id="{09B18148-740B-76EF-673C-862650A58E4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81398" y="4011693"/>
            <a:ext cx="1261320" cy="126132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a:extLst>
              <a:ext uri="{FF2B5EF4-FFF2-40B4-BE49-F238E27FC236}">
                <a16:creationId xmlns:a16="http://schemas.microsoft.com/office/drawing/2014/main" id="{8356CB44-EC3D-DC07-C3B2-9D60A0EEB73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337439" y="5370584"/>
            <a:ext cx="1041758" cy="1261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74919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a:t>This is the </a:t>
            </a:r>
            <a:br>
              <a:rPr lang="en-US"/>
            </a:br>
            <a:r>
              <a:rPr lang="en-US"/>
              <a:t>title for </a:t>
            </a:r>
            <a:br>
              <a:rPr lang="en-US"/>
            </a:br>
            <a:r>
              <a:rPr lang="en-US"/>
              <a:t>the cover</a:t>
            </a:r>
            <a:endParaRPr lang="nl-NL"/>
          </a:p>
        </p:txBody>
      </p:sp>
      <p:sp>
        <p:nvSpPr>
          <p:cNvPr id="5" name="Tijdelijke aanduiding voor tekst 4"/>
          <p:cNvSpPr>
            <a:spLocks noGrp="1"/>
          </p:cNvSpPr>
          <p:nvPr>
            <p:ph type="body" sz="quarter" idx="63"/>
          </p:nvPr>
        </p:nvSpPr>
        <p:spPr/>
        <p:txBody>
          <a:bodyPr/>
          <a:lstStyle/>
          <a:p>
            <a:r>
              <a:rPr lang="nl-NL"/>
              <a:t>Name presenter</a:t>
            </a:r>
          </a:p>
        </p:txBody>
      </p:sp>
    </p:spTree>
    <p:extLst>
      <p:ext uri="{BB962C8B-B14F-4D97-AF65-F5344CB8AC3E}">
        <p14:creationId xmlns:p14="http://schemas.microsoft.com/office/powerpoint/2010/main" val="34510657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close-up of some leaves&#10;&#10;Description automatically generated with medium confidence">
            <a:extLst>
              <a:ext uri="{FF2B5EF4-FFF2-40B4-BE49-F238E27FC236}">
                <a16:creationId xmlns:a16="http://schemas.microsoft.com/office/drawing/2014/main" id="{30384015-6D00-7426-DCA4-934FD0A60A69}"/>
              </a:ext>
            </a:extLst>
          </p:cNvPr>
          <p:cNvPicPr>
            <a:picLocks noGrp="1" noChangeAspect="1"/>
          </p:cNvPicPr>
          <p:nvPr>
            <p:ph type="pic" sz="quarter" idx="64"/>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3E03A014-9F0D-98FC-32FA-190C52A42019}"/>
              </a:ext>
            </a:extLst>
          </p:cNvPr>
          <p:cNvSpPr>
            <a:spLocks noGrp="1"/>
          </p:cNvSpPr>
          <p:nvPr>
            <p:ph type="title"/>
          </p:nvPr>
        </p:nvSpPr>
        <p:spPr>
          <a:xfrm>
            <a:off x="927100" y="1609643"/>
            <a:ext cx="8802826" cy="3233291"/>
          </a:xfrm>
        </p:spPr>
        <p:txBody>
          <a:bodyPr/>
          <a:lstStyle/>
          <a:p>
            <a:r>
              <a:rPr lang="en-US" sz="5400" dirty="0"/>
              <a:t>PROJECT INTRODUCTION</a:t>
            </a:r>
            <a:endParaRPr lang="de-DE" sz="5400" dirty="0"/>
          </a:p>
        </p:txBody>
      </p:sp>
      <p:sp>
        <p:nvSpPr>
          <p:cNvPr id="5" name="Text Placeholder 4">
            <a:extLst>
              <a:ext uri="{FF2B5EF4-FFF2-40B4-BE49-F238E27FC236}">
                <a16:creationId xmlns:a16="http://schemas.microsoft.com/office/drawing/2014/main" id="{9E431F0F-FF18-17D3-2E26-FE0321670AA8}"/>
              </a:ext>
            </a:extLst>
          </p:cNvPr>
          <p:cNvSpPr>
            <a:spLocks noGrp="1"/>
          </p:cNvSpPr>
          <p:nvPr>
            <p:ph type="body" sz="quarter" idx="63"/>
          </p:nvPr>
        </p:nvSpPr>
        <p:spPr>
          <a:xfrm>
            <a:off x="926891" y="4848000"/>
            <a:ext cx="10125807" cy="860341"/>
          </a:xfrm>
        </p:spPr>
        <p:txBody>
          <a:bodyPr>
            <a:normAutofit/>
          </a:bodyPr>
          <a:lstStyle/>
          <a:p>
            <a:r>
              <a:rPr lang="nl-NL" b="1" dirty="0"/>
              <a:t>Trade Program Optimization &amp; Customer Targeting Recommendation</a:t>
            </a:r>
          </a:p>
        </p:txBody>
      </p:sp>
      <p:sp>
        <p:nvSpPr>
          <p:cNvPr id="12" name="Slide Number Placeholder 11">
            <a:extLst>
              <a:ext uri="{FF2B5EF4-FFF2-40B4-BE49-F238E27FC236}">
                <a16:creationId xmlns:a16="http://schemas.microsoft.com/office/drawing/2014/main" id="{976B5F6B-C6D0-2E6E-BCF5-9122B1217670}"/>
              </a:ext>
            </a:extLst>
          </p:cNvPr>
          <p:cNvSpPr>
            <a:spLocks noGrp="1"/>
          </p:cNvSpPr>
          <p:nvPr>
            <p:ph type="sldNum" sz="quarter" idx="4"/>
          </p:nvPr>
        </p:nvSpPr>
        <p:spPr/>
        <p:txBody>
          <a:bodyPr/>
          <a:lstStyle/>
          <a:p>
            <a:fld id="{F7D798F7-A0AD-A14E-8CE9-57071D50F00B}" type="slidenum">
              <a:rPr lang="de-DE"/>
              <a:pPr/>
              <a:t>3</a:t>
            </a:fld>
            <a:endParaRPr lang="de-DE"/>
          </a:p>
        </p:txBody>
      </p:sp>
      <p:pic>
        <p:nvPicPr>
          <p:cNvPr id="2" name="Picture 1">
            <a:extLst>
              <a:ext uri="{FF2B5EF4-FFF2-40B4-BE49-F238E27FC236}">
                <a16:creationId xmlns:a16="http://schemas.microsoft.com/office/drawing/2014/main" id="{51E93A66-B153-8852-53E4-07A339CD256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6627" y="-38065"/>
            <a:ext cx="2428875" cy="1214755"/>
          </a:xfrm>
          <a:prstGeom prst="rect">
            <a:avLst/>
          </a:prstGeom>
          <a:noFill/>
          <a:ln>
            <a:noFill/>
          </a:ln>
        </p:spPr>
      </p:pic>
    </p:spTree>
    <p:extLst>
      <p:ext uri="{BB962C8B-B14F-4D97-AF65-F5344CB8AC3E}">
        <p14:creationId xmlns:p14="http://schemas.microsoft.com/office/powerpoint/2010/main" val="223810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82;p15"/>
          <p:cNvSpPr txBox="1">
            <a:spLocks/>
          </p:cNvSpPr>
          <p:nvPr/>
        </p:nvSpPr>
        <p:spPr>
          <a:xfrm>
            <a:off x="373578" y="320886"/>
            <a:ext cx="11229836" cy="6334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9pPr>
          </a:lstStyle>
          <a:p>
            <a:pPr algn="l" defTabSz="914400"/>
            <a:r>
              <a:rPr lang="en-US" sz="2400" b="1" dirty="0">
                <a:solidFill>
                  <a:schemeClr val="accent4"/>
                </a:solidFill>
                <a:latin typeface="+mn-lt"/>
                <a:ea typeface="Fjalla One"/>
                <a:cs typeface="Fjalla One"/>
                <a:sym typeface="Fjalla One"/>
              </a:rPr>
              <a:t>HEINEKEN </a:t>
            </a:r>
            <a:r>
              <a:rPr lang="en-US" sz="2400" b="1" kern="0" dirty="0">
                <a:solidFill>
                  <a:schemeClr val="accent4"/>
                </a:solidFill>
                <a:latin typeface="+mn-lt"/>
                <a:ea typeface="Fjalla One"/>
                <a:cs typeface="Fjalla One"/>
                <a:sym typeface="Fjalla One"/>
              </a:rPr>
              <a:t>Trade Program Marketing Running </a:t>
            </a:r>
          </a:p>
        </p:txBody>
      </p:sp>
      <p:pic>
        <p:nvPicPr>
          <p:cNvPr id="5" name="Picture 4"/>
          <p:cNvPicPr>
            <a:picLocks noChangeAspect="1"/>
          </p:cNvPicPr>
          <p:nvPr/>
        </p:nvPicPr>
        <p:blipFill>
          <a:blip r:embed="rId3"/>
          <a:stretch>
            <a:fillRect/>
          </a:stretch>
        </p:blipFill>
        <p:spPr>
          <a:xfrm>
            <a:off x="534588" y="1287925"/>
            <a:ext cx="2906381" cy="2530094"/>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6303261" y="1287925"/>
            <a:ext cx="2569880" cy="1741148"/>
          </a:xfrm>
          <a:prstGeom prst="rect">
            <a:avLst/>
          </a:prstGeom>
          <a:ln>
            <a:noFill/>
          </a:ln>
          <a:effectLst>
            <a:softEdge rad="112500"/>
          </a:effectLst>
        </p:spPr>
      </p:pic>
      <p:pic>
        <p:nvPicPr>
          <p:cNvPr id="9" name="Picture 8"/>
          <p:cNvPicPr>
            <a:picLocks noChangeAspect="1"/>
          </p:cNvPicPr>
          <p:nvPr/>
        </p:nvPicPr>
        <p:blipFill>
          <a:blip r:embed="rId5"/>
          <a:stretch>
            <a:fillRect/>
          </a:stretch>
        </p:blipFill>
        <p:spPr>
          <a:xfrm>
            <a:off x="3467157" y="1269295"/>
            <a:ext cx="2612776" cy="3584625"/>
          </a:xfrm>
          <a:prstGeom prst="rect">
            <a:avLst/>
          </a:prstGeom>
          <a:ln>
            <a:noFill/>
          </a:ln>
          <a:effectLst>
            <a:softEdge rad="112500"/>
          </a:effectLst>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05896" y="4487045"/>
            <a:ext cx="1855436" cy="1684416"/>
          </a:xfrm>
          <a:prstGeom prst="rect">
            <a:avLst/>
          </a:prstGeom>
          <a:ln>
            <a:noFill/>
          </a:ln>
          <a:effectLst>
            <a:softEdge rad="112500"/>
          </a:effectLst>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7451" y="4970181"/>
            <a:ext cx="1523690" cy="1423166"/>
          </a:xfrm>
          <a:prstGeom prst="rect">
            <a:avLst/>
          </a:prstGeom>
          <a:ln>
            <a:noFill/>
          </a:ln>
          <a:effectLst>
            <a:softEdge rad="112500"/>
          </a:effectLst>
        </p:spPr>
      </p:pic>
      <p:pic>
        <p:nvPicPr>
          <p:cNvPr id="12" name="Picture 11">
            <a:extLst>
              <a:ext uri="{FF2B5EF4-FFF2-40B4-BE49-F238E27FC236}">
                <a16:creationId xmlns:a16="http://schemas.microsoft.com/office/drawing/2014/main" id="{3BC6F7F7-A568-46ED-9391-449A5EB3D5A6}"/>
              </a:ext>
            </a:extLst>
          </p:cNvPr>
          <p:cNvPicPr>
            <a:picLocks noChangeAspect="1"/>
          </p:cNvPicPr>
          <p:nvPr/>
        </p:nvPicPr>
        <p:blipFill>
          <a:blip r:embed="rId8"/>
          <a:stretch>
            <a:fillRect/>
          </a:stretch>
        </p:blipFill>
        <p:spPr>
          <a:xfrm>
            <a:off x="238137" y="3696022"/>
            <a:ext cx="2773599" cy="2277873"/>
          </a:xfrm>
          <a:prstGeom prst="rect">
            <a:avLst/>
          </a:prstGeom>
          <a:ln>
            <a:noFill/>
          </a:ln>
          <a:effectLst>
            <a:softEdge rad="112500"/>
          </a:effectLst>
        </p:spPr>
      </p:pic>
      <p:pic>
        <p:nvPicPr>
          <p:cNvPr id="6" name="Picture 5"/>
          <p:cNvPicPr>
            <a:picLocks noChangeAspect="1"/>
          </p:cNvPicPr>
          <p:nvPr/>
        </p:nvPicPr>
        <p:blipFill>
          <a:blip r:embed="rId9"/>
          <a:stretch>
            <a:fillRect/>
          </a:stretch>
        </p:blipFill>
        <p:spPr>
          <a:xfrm>
            <a:off x="1867684" y="3514072"/>
            <a:ext cx="1544476" cy="2678931"/>
          </a:xfrm>
          <a:prstGeom prst="rect">
            <a:avLst/>
          </a:prstGeom>
          <a:ln>
            <a:noFill/>
          </a:ln>
          <a:effectLst>
            <a:softEdge rad="112500"/>
          </a:effectLst>
        </p:spPr>
      </p:pic>
      <p:pic>
        <p:nvPicPr>
          <p:cNvPr id="21" name="Picture 20"/>
          <p:cNvPicPr>
            <a:picLocks noChangeAspect="1"/>
          </p:cNvPicPr>
          <p:nvPr/>
        </p:nvPicPr>
        <p:blipFill>
          <a:blip r:embed="rId10"/>
          <a:stretch>
            <a:fillRect/>
          </a:stretch>
        </p:blipFill>
        <p:spPr>
          <a:xfrm>
            <a:off x="9239348" y="1287925"/>
            <a:ext cx="2581634" cy="3639944"/>
          </a:xfrm>
          <a:prstGeom prst="rect">
            <a:avLst/>
          </a:prstGeom>
          <a:ln>
            <a:noFill/>
          </a:ln>
          <a:effectLst>
            <a:softEdge rad="112500"/>
          </a:effectLst>
        </p:spPr>
      </p:pic>
      <p:pic>
        <p:nvPicPr>
          <p:cNvPr id="22" name="Picture 21"/>
          <p:cNvPicPr>
            <a:picLocks noChangeAspect="1"/>
          </p:cNvPicPr>
          <p:nvPr/>
        </p:nvPicPr>
        <p:blipFill>
          <a:blip r:embed="rId11"/>
          <a:stretch>
            <a:fillRect/>
          </a:stretch>
        </p:blipFill>
        <p:spPr>
          <a:xfrm>
            <a:off x="9029069" y="4502287"/>
            <a:ext cx="3108491" cy="1916497"/>
          </a:xfrm>
          <a:prstGeom prst="rect">
            <a:avLst/>
          </a:prstGeom>
          <a:ln>
            <a:noFill/>
          </a:ln>
          <a:effectLst>
            <a:softEdge rad="112500"/>
          </a:effectLst>
        </p:spPr>
      </p:pic>
      <p:pic>
        <p:nvPicPr>
          <p:cNvPr id="24" name="Picture 23"/>
          <p:cNvPicPr>
            <a:picLocks noChangeAspect="1"/>
          </p:cNvPicPr>
          <p:nvPr/>
        </p:nvPicPr>
        <p:blipFill>
          <a:blip r:embed="rId12"/>
          <a:stretch>
            <a:fillRect/>
          </a:stretch>
        </p:blipFill>
        <p:spPr>
          <a:xfrm>
            <a:off x="6406214" y="2741278"/>
            <a:ext cx="2363974" cy="1545587"/>
          </a:xfrm>
          <a:prstGeom prst="rect">
            <a:avLst/>
          </a:prstGeom>
          <a:ln>
            <a:noFill/>
          </a:ln>
          <a:effectLst>
            <a:softEdge rad="112500"/>
          </a:effectLst>
        </p:spPr>
      </p:pic>
      <p:pic>
        <p:nvPicPr>
          <p:cNvPr id="8" name="Picture 7"/>
          <p:cNvPicPr>
            <a:picLocks noChangeAspect="1"/>
          </p:cNvPicPr>
          <p:nvPr/>
        </p:nvPicPr>
        <p:blipFill>
          <a:blip r:embed="rId13"/>
          <a:stretch>
            <a:fillRect/>
          </a:stretch>
        </p:blipFill>
        <p:spPr>
          <a:xfrm>
            <a:off x="6606621" y="3818019"/>
            <a:ext cx="1952466" cy="2651855"/>
          </a:xfrm>
          <a:prstGeom prst="rect">
            <a:avLst/>
          </a:prstGeom>
          <a:ln>
            <a:noFill/>
          </a:ln>
          <a:effectLst>
            <a:softEdge rad="112500"/>
          </a:effectLst>
        </p:spPr>
      </p:pic>
    </p:spTree>
    <p:extLst>
      <p:ext uri="{BB962C8B-B14F-4D97-AF65-F5344CB8AC3E}">
        <p14:creationId xmlns:p14="http://schemas.microsoft.com/office/powerpoint/2010/main" val="2546252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2747FD-1C4B-DB3E-BEF7-36730B567FB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le 2">
            <a:extLst>
              <a:ext uri="{FF2B5EF4-FFF2-40B4-BE49-F238E27FC236}">
                <a16:creationId xmlns:a16="http://schemas.microsoft.com/office/drawing/2014/main" id="{E0BD5093-B7A6-3F5C-BE82-C39C446A96A8}"/>
              </a:ext>
            </a:extLst>
          </p:cNvPr>
          <p:cNvSpPr>
            <a:spLocks noGrp="1"/>
          </p:cNvSpPr>
          <p:nvPr>
            <p:ph type="title"/>
          </p:nvPr>
        </p:nvSpPr>
        <p:spPr>
          <a:xfrm>
            <a:off x="927100" y="1153531"/>
            <a:ext cx="4486963" cy="3233291"/>
          </a:xfrm>
        </p:spPr>
        <p:txBody>
          <a:bodyPr/>
          <a:lstStyle/>
          <a:p>
            <a:r>
              <a:rPr lang="en-US" dirty="0"/>
              <a:t>Long Process &amp; Alignment to Proceed the Trade Marketing Plan</a:t>
            </a:r>
          </a:p>
        </p:txBody>
      </p:sp>
      <p:sp>
        <p:nvSpPr>
          <p:cNvPr id="6" name="Text Placeholder 5">
            <a:extLst>
              <a:ext uri="{FF2B5EF4-FFF2-40B4-BE49-F238E27FC236}">
                <a16:creationId xmlns:a16="http://schemas.microsoft.com/office/drawing/2014/main" id="{2C1688F7-79E1-74BF-1382-7D09241AFFDE}"/>
              </a:ext>
            </a:extLst>
          </p:cNvPr>
          <p:cNvSpPr>
            <a:spLocks noGrp="1"/>
          </p:cNvSpPr>
          <p:nvPr>
            <p:ph type="body" sz="quarter" idx="63"/>
          </p:nvPr>
        </p:nvSpPr>
        <p:spPr>
          <a:xfrm>
            <a:off x="927100" y="4386822"/>
            <a:ext cx="4486963" cy="516732"/>
          </a:xfrm>
        </p:spPr>
        <p:txBody>
          <a:bodyPr/>
          <a:lstStyle/>
          <a:p>
            <a:r>
              <a:rPr lang="en-US" dirty="0"/>
              <a:t>Problem &amp; Issue</a:t>
            </a:r>
          </a:p>
        </p:txBody>
      </p:sp>
    </p:spTree>
    <p:extLst>
      <p:ext uri="{BB962C8B-B14F-4D97-AF65-F5344CB8AC3E}">
        <p14:creationId xmlns:p14="http://schemas.microsoft.com/office/powerpoint/2010/main" val="296820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OBJECTIVE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3892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b="0" i="0" u="none" strike="noStrike" dirty="0">
                <a:solidFill>
                  <a:srgbClr val="1F2E00"/>
                </a:solidFill>
                <a:effectLst/>
                <a:latin typeface="+mj-lt"/>
              </a:rPr>
              <a:t>To finetune customer targeting in order to leverage the effectiveness of the trade term program. To apply analytics model in order to uncover any hidden gaps in master data and trade term is the selected case for this study.</a:t>
            </a:r>
            <a:r>
              <a:rPr lang="en-US" sz="1800" b="0" i="0" dirty="0">
                <a:solidFill>
                  <a:srgbClr val="000000"/>
                </a:solidFill>
                <a:effectLst/>
                <a:latin typeface="+mj-lt"/>
              </a:rPr>
              <a:t> </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dirty="0">
              <a:effectLst/>
              <a:latin typeface="Calibri" panose="020F0502020204030204" pitchFamily="34" charset="0"/>
              <a:ea typeface="Calibri" panose="020F0502020204030204" pitchFamily="34" charset="0"/>
              <a:cs typeface="DaunPenh" panose="01010101010101010101" pitchFamily="2"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master data and data model &amp; what the need to push master data help the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371592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p:txBody>
          <a:bodyPr/>
          <a:lstStyle/>
          <a:p>
            <a:r>
              <a:rPr lang="de-DE" spc="600" dirty="0"/>
              <a:t>HYPOTHESIS AND RESEARCH QUESTIONS</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7</a:t>
            </a:fld>
            <a:endParaRPr lang="de-DE"/>
          </a:p>
        </p:txBody>
      </p:sp>
    </p:spTree>
    <p:extLst>
      <p:ext uri="{BB962C8B-B14F-4D97-AF65-F5344CB8AC3E}">
        <p14:creationId xmlns:p14="http://schemas.microsoft.com/office/powerpoint/2010/main" val="25062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HYPOTHESIS &amp; RQ</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55547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o apply analytics model in order to uncover any hidden gaps in master data and trade term is the selected case for this study. We are currently having the hypothesis to test it out: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Null Hypothesis (H0): Improving the trade program and customer targeting will NOT increase the sale volume and profit of revenue company KPI.</a:t>
            </a:r>
            <a:endParaRPr lang="en-US" sz="1800" dirty="0">
              <a:latin typeface="Calibri" panose="020F0502020204030204" pitchFamily="34"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Alternative Hypothesis (H1/HA): Improving the trade program and customer targeting will increase the sale volume and profit of revenue company KPI. </a:t>
            </a:r>
          </a:p>
          <a:p>
            <a:pPr marL="285750" indent="-285750" algn="l">
              <a:buFont typeface="Arial" panose="020B0604020202020204" pitchFamily="34" charset="0"/>
              <a:buChar char="•"/>
            </a:pPr>
            <a:endParaRPr lang="en-US" sz="1800" dirty="0">
              <a:latin typeface="HEINEKEN Core" panose="02000503050000020004" pitchFamily="2" charset="0"/>
              <a:ea typeface="Calibri" panose="020F0502020204030204" pitchFamily="34" charset="0"/>
              <a:cs typeface="Arial" panose="020B0604020202020204" pitchFamily="34" charset="0"/>
            </a:endParaRPr>
          </a:p>
          <a:p>
            <a:pPr algn="l"/>
            <a:r>
              <a:rPr lang="en-US" sz="2000" b="1" dirty="0">
                <a:latin typeface="HEINEKEN Core" panose="02000503050000020004" pitchFamily="2" charset="0"/>
                <a:ea typeface="Calibri" panose="020F0502020204030204" pitchFamily="34" charset="0"/>
                <a:cs typeface="Arial" panose="020B0604020202020204" pitchFamily="34" charset="0"/>
              </a:rPr>
              <a:t>Research Questions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s the current process of doing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 are the metrics to analyze on trade program performance and correlation between customer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How can master data maintain to support the trade program target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ich is the best model to implement with customer targeting recommendation for trade mark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256758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53BA3-DCD5-B472-2122-FA188493B6F0}"/>
              </a:ext>
            </a:extLst>
          </p:cNvPr>
          <p:cNvSpPr>
            <a:spLocks noGrp="1"/>
          </p:cNvSpPr>
          <p:nvPr>
            <p:ph type="title"/>
          </p:nvPr>
        </p:nvSpPr>
        <p:spPr>
          <a:xfrm>
            <a:off x="5422298" y="1748538"/>
            <a:ext cx="6100917" cy="3714497"/>
          </a:xfrm>
        </p:spPr>
        <p:txBody>
          <a:bodyPr/>
          <a:lstStyle/>
          <a:p>
            <a:r>
              <a:rPr lang="de-DE" sz="6000" dirty="0"/>
              <a:t>METHODOLOGY</a:t>
            </a:r>
          </a:p>
        </p:txBody>
      </p:sp>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9</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Tree>
    <p:extLst>
      <p:ext uri="{BB962C8B-B14F-4D97-AF65-F5344CB8AC3E}">
        <p14:creationId xmlns:p14="http://schemas.microsoft.com/office/powerpoint/2010/main" val="158846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AS_UNIQUEID" val="24965"/>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_rels/theme4.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2.xml><?xml version="1.0" encoding="utf-8"?>
<a:theme xmlns:a="http://schemas.openxmlformats.org/drawingml/2006/main" name="26_White">
  <a:themeElements>
    <a:clrScheme name="heineken">
      <a:dk1>
        <a:srgbClr val="017E01"/>
      </a:dk1>
      <a:lt1>
        <a:srgbClr val="2EC246"/>
      </a:lt1>
      <a:dk2>
        <a:srgbClr val="FFFFFF"/>
      </a:dk2>
      <a:lt2>
        <a:srgbClr val="2BC345"/>
      </a:lt2>
      <a:accent1>
        <a:srgbClr val="FEFFFE"/>
      </a:accent1>
      <a:accent2>
        <a:srgbClr val="FF0000"/>
      </a:accent2>
      <a:accent3>
        <a:srgbClr val="FFFFFF"/>
      </a:accent3>
      <a:accent4>
        <a:srgbClr val="017E01"/>
      </a:accent4>
      <a:accent5>
        <a:srgbClr val="2CC246"/>
      </a:accent5>
      <a:accent6>
        <a:srgbClr val="017E01"/>
      </a:accent6>
      <a:hlink>
        <a:srgbClr val="215626"/>
      </a:hlink>
      <a:folHlink>
        <a:srgbClr val="FF0000"/>
      </a:folHlink>
    </a:clrScheme>
    <a:fontScheme name="Custom 1">
      <a:majorFont>
        <a:latin typeface="HEINEKEN Core"/>
        <a:ea typeface=""/>
        <a:cs typeface=""/>
      </a:majorFont>
      <a:minorFont>
        <a:latin typeface="HEINEKEN Core"/>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65A38"/>
        </a:accent1>
        <a:accent2>
          <a:srgbClr val="7AB800"/>
        </a:accent2>
        <a:accent3>
          <a:srgbClr val="FF7900"/>
        </a:accent3>
        <a:accent4>
          <a:srgbClr val="C4C4C4"/>
        </a:accent4>
        <a:accent5>
          <a:srgbClr val="ED1C24"/>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EN00006 - 2022_Digital&amp;Tech_Template - hybrid v4.potx" id="{A120C424-8B38-4635-BB7A-B589E974EB7E}" vid="{A0C8F871-539A-4681-A717-DDC2A5DE3D78}"/>
    </a:ext>
  </a:extLst>
</a:theme>
</file>

<file path=ppt/theme/theme3.xml><?xml version="1.0" encoding="utf-8"?>
<a:theme xmlns:a="http://schemas.openxmlformats.org/drawingml/2006/main" name="evergreen">
  <a:themeElements>
    <a:clrScheme name="evergreen">
      <a:dk1>
        <a:srgbClr val="215626"/>
      </a:dk1>
      <a:lt1>
        <a:srgbClr val="FFFFFF"/>
      </a:lt1>
      <a:dk2>
        <a:srgbClr val="017E01"/>
      </a:dk2>
      <a:lt2>
        <a:srgbClr val="2BC345"/>
      </a:lt2>
      <a:accent1>
        <a:srgbClr val="215626"/>
      </a:accent1>
      <a:accent2>
        <a:srgbClr val="017E01"/>
      </a:accent2>
      <a:accent3>
        <a:srgbClr val="2EC246"/>
      </a:accent3>
      <a:accent4>
        <a:srgbClr val="2BC345"/>
      </a:accent4>
      <a:accent5>
        <a:srgbClr val="FFFFFF"/>
      </a:accent5>
      <a:accent6>
        <a:srgbClr val="FFFFFF"/>
      </a:accent6>
      <a:hlink>
        <a:srgbClr val="017E01"/>
      </a:hlink>
      <a:folHlink>
        <a:srgbClr val="215626"/>
      </a:folHlink>
    </a:clrScheme>
    <a:fontScheme name="Heineken - legacy green">
      <a:majorFont>
        <a:latin typeface="HEINEKEN Core"/>
        <a:ea typeface=""/>
        <a:cs typeface=""/>
      </a:majorFont>
      <a:minorFont>
        <a:latin typeface="HEINEKEN Cor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N00006 - 2022_Digital&amp;Tech_Template - hybrid v4.potx" id="{A120C424-8B38-4635-BB7A-B589E974EB7E}" vid="{E7846B97-CACE-4FAD-95DA-F58D04045AD1}"/>
    </a:ext>
  </a:ext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d207de2-70cf-42ff-b1b2-074d444ebe38" xsi:nil="true"/>
    <lcf76f155ced4ddcb4097134ff3c332f xmlns="e0b340ce-c2f8-4890-872c-6cdecf642390">
      <Terms xmlns="http://schemas.microsoft.com/office/infopath/2007/PartnerControls"/>
    </lcf76f155ced4ddcb4097134ff3c332f>
    <SharedWithUsers xmlns="4d207de2-70cf-42ff-b1b2-074d444ebe38">
      <UserInfo>
        <DisplayName/>
        <AccountId xsi:nil="true"/>
        <AccountType/>
      </UserInfo>
    </SharedWithUsers>
    <Purpose xmlns="e0b340ce-c2f8-4890-872c-6cdecf64239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A36EF32BAE9E4EB55189E28E74E3BF" ma:contentTypeVersion="18" ma:contentTypeDescription="Create a new document." ma:contentTypeScope="" ma:versionID="99f5f75fd7951174eea0daf80e175dd6">
  <xsd:schema xmlns:xsd="http://www.w3.org/2001/XMLSchema" xmlns:xs="http://www.w3.org/2001/XMLSchema" xmlns:p="http://schemas.microsoft.com/office/2006/metadata/properties" xmlns:ns2="e0b340ce-c2f8-4890-872c-6cdecf642390" xmlns:ns3="4d207de2-70cf-42ff-b1b2-074d444ebe38" targetNamespace="http://schemas.microsoft.com/office/2006/metadata/properties" ma:root="true" ma:fieldsID="a396ef24b68a4e75b7420d6357788f70" ns2:_="" ns3:_="">
    <xsd:import namespace="e0b340ce-c2f8-4890-872c-6cdecf642390"/>
    <xsd:import namespace="4d207de2-70cf-42ff-b1b2-074d444ebe38"/>
    <xsd:element name="properties">
      <xsd:complexType>
        <xsd:sequence>
          <xsd:element name="documentManagement">
            <xsd:complexType>
              <xsd:all>
                <xsd:element ref="ns2:Purpose" minOccurs="0"/>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TaxCatchAll" minOccurs="0"/>
                <xsd:element ref="ns2:MediaServiceDateTaken" minOccurs="0"/>
                <xsd:element ref="ns2:lcf76f155ced4ddcb4097134ff3c332f"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b340ce-c2f8-4890-872c-6cdecf642390" elementFormDefault="qualified">
    <xsd:import namespace="http://schemas.microsoft.com/office/2006/documentManagement/types"/>
    <xsd:import namespace="http://schemas.microsoft.com/office/infopath/2007/PartnerControls"/>
    <xsd:element name="Purpose" ma:index="8" nillable="true" ma:displayName="Purpose" ma:format="Dropdown" ma:internalName="Purpose">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d207de2-70cf-42ff-b1b2-074d444ebe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d813be6-447c-4361-865b-d0a8522dcfa8}" ma:internalName="TaxCatchAll" ma:showField="CatchAllData" ma:web="4d207de2-70cf-42ff-b1b2-074d444ebe3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31E0B6-A631-44BA-A676-23BEC54BC1A8}">
  <ds:schemaRefs>
    <ds:schemaRef ds:uri="http://schemas.microsoft.com/office/2006/documentManagement/types"/>
    <ds:schemaRef ds:uri="http://purl.org/dc/elements/1.1/"/>
    <ds:schemaRef ds:uri="http://schemas.microsoft.com/office/infopath/2007/PartnerControls"/>
    <ds:schemaRef ds:uri="e0b340ce-c2f8-4890-872c-6cdecf642390"/>
    <ds:schemaRef ds:uri="http://purl.org/dc/terms/"/>
    <ds:schemaRef ds:uri="http://purl.org/dc/dcmitype/"/>
    <ds:schemaRef ds:uri="http://schemas.openxmlformats.org/package/2006/metadata/core-properties"/>
    <ds:schemaRef ds:uri="4d207de2-70cf-42ff-b1b2-074d444ebe3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BFFD3C7-51C8-4500-B6E6-E29FE7E098D7}">
  <ds:schemaRefs>
    <ds:schemaRef ds:uri="4d207de2-70cf-42ff-b1b2-074d444ebe38"/>
    <ds:schemaRef ds:uri="e0b340ce-c2f8-4890-872c-6cdecf6423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6AFC6D-0EC1-49AF-8931-9667B54269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eineken - new</Template>
  <TotalTime>11277</TotalTime>
  <Words>1108</Words>
  <Application>Microsoft Office PowerPoint</Application>
  <PresentationFormat>Widescreen</PresentationFormat>
  <Paragraphs>273</Paragraphs>
  <Slides>24</Slides>
  <Notes>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HEINEKEN Core</vt:lpstr>
      <vt:lpstr>HEINEKEN Core ExtraBold</vt:lpstr>
      <vt:lpstr>Helvetica Light</vt:lpstr>
      <vt:lpstr>Helvetica Neue</vt:lpstr>
      <vt:lpstr>Segoe UI</vt:lpstr>
      <vt:lpstr>Symbol</vt:lpstr>
      <vt:lpstr>Times New Roman</vt:lpstr>
      <vt:lpstr>Wingdings</vt:lpstr>
      <vt:lpstr>DT Template *NEW*</vt:lpstr>
      <vt:lpstr>26_White</vt:lpstr>
      <vt:lpstr>evergreen</vt:lpstr>
      <vt:lpstr>think-cell Slide</vt:lpstr>
      <vt:lpstr>TPO &amp; Customer Targeting Recommendation</vt:lpstr>
      <vt:lpstr>PowerPoint Presentation</vt:lpstr>
      <vt:lpstr>PROJECT INTRODUCTION</vt:lpstr>
      <vt:lpstr>PowerPoint Presentation</vt:lpstr>
      <vt:lpstr>Long Process &amp; Alignment to Proceed the Trade Marketing Plan</vt:lpstr>
      <vt:lpstr>PowerPoint Presentation</vt:lpstr>
      <vt:lpstr>HYPOTHESIS AND RESEARCH QUESTIONS</vt:lpstr>
      <vt:lpstr>PowerPoint Presentation</vt:lpstr>
      <vt:lpstr>METHODOLOGY</vt:lpstr>
      <vt:lpstr>METHODOLOGY</vt:lpstr>
      <vt:lpstr>METHODOLOGY </vt:lpstr>
      <vt:lpstr>PROJECT ROADMAP  &amp; PLANNING</vt:lpstr>
      <vt:lpstr>PowerPoint Presentation</vt:lpstr>
      <vt:lpstr>DATA COLLECTION</vt:lpstr>
      <vt:lpstr>PowerPoint Presentation</vt:lpstr>
      <vt:lpstr>PowerPoint Presentation</vt:lpstr>
      <vt:lpstr>PowerPoint Presentation</vt:lpstr>
      <vt:lpstr>PowerPoint Presentation</vt:lpstr>
      <vt:lpstr>PowerPoint Presentation</vt:lpstr>
      <vt:lpstr>POWER BI Dashboard</vt:lpstr>
      <vt:lpstr>PowerPoint Presentation</vt:lpstr>
      <vt:lpstr>TECHNOLOGY</vt:lpstr>
      <vt:lpstr>TECHNOLOGY</vt:lpstr>
      <vt:lpstr>This is the  title for  the cov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the title for  the COVER</dc:title>
  <dc:subject/>
  <dc:creator>Liza Jongbloed</dc:creator>
  <cp:keywords/>
  <dc:description/>
  <cp:lastModifiedBy>Votana Srey</cp:lastModifiedBy>
  <cp:revision>5</cp:revision>
  <dcterms:created xsi:type="dcterms:W3CDTF">2022-09-17T09:33:33Z</dcterms:created>
  <dcterms:modified xsi:type="dcterms:W3CDTF">2023-03-10T15:34: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23D1034002A4DA400E4CC4F98E9BD</vt:lpwstr>
  </property>
  <property fmtid="{D5CDD505-2E9C-101B-9397-08002B2CF9AE}" pid="3" name="Order">
    <vt:lpwstr>305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